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1"/>
    <p:sldMasterId id="2147483661" r:id="rId2"/>
  </p:sldMasterIdLst>
  <p:notesMasterIdLst>
    <p:notesMasterId r:id="rId60"/>
  </p:notesMasterIdLst>
  <p:handoutMasterIdLst>
    <p:handoutMasterId r:id="rId61"/>
  </p:handoutMasterIdLst>
  <p:sldIdLst>
    <p:sldId id="1082" r:id="rId3"/>
    <p:sldId id="1091" r:id="rId4"/>
    <p:sldId id="1203" r:id="rId5"/>
    <p:sldId id="1207" r:id="rId6"/>
    <p:sldId id="1208" r:id="rId7"/>
    <p:sldId id="1209" r:id="rId8"/>
    <p:sldId id="1210" r:id="rId9"/>
    <p:sldId id="1211" r:id="rId10"/>
    <p:sldId id="1212" r:id="rId11"/>
    <p:sldId id="1213" r:id="rId12"/>
    <p:sldId id="1214" r:id="rId13"/>
    <p:sldId id="1215" r:id="rId14"/>
    <p:sldId id="1216" r:id="rId15"/>
    <p:sldId id="1217" r:id="rId16"/>
    <p:sldId id="1218" r:id="rId17"/>
    <p:sldId id="1219" r:id="rId18"/>
    <p:sldId id="1178" r:id="rId19"/>
    <p:sldId id="1179" r:id="rId20"/>
    <p:sldId id="1180" r:id="rId21"/>
    <p:sldId id="1181" r:id="rId22"/>
    <p:sldId id="1183" r:id="rId23"/>
    <p:sldId id="1199" r:id="rId24"/>
    <p:sldId id="1186" r:id="rId25"/>
    <p:sldId id="1187" r:id="rId26"/>
    <p:sldId id="1098" r:id="rId27"/>
    <p:sldId id="1128" r:id="rId28"/>
    <p:sldId id="1129" r:id="rId29"/>
    <p:sldId id="1200" r:id="rId30"/>
    <p:sldId id="1198" r:id="rId31"/>
    <p:sldId id="1110" r:id="rId32"/>
    <p:sldId id="1189" r:id="rId33"/>
    <p:sldId id="1139" r:id="rId34"/>
    <p:sldId id="1194" r:id="rId35"/>
    <p:sldId id="1201" r:id="rId36"/>
    <p:sldId id="1202" r:id="rId37"/>
    <p:sldId id="1170" r:id="rId38"/>
    <p:sldId id="1146" r:id="rId39"/>
    <p:sldId id="1116" r:id="rId40"/>
    <p:sldId id="1173" r:id="rId41"/>
    <p:sldId id="1171" r:id="rId42"/>
    <p:sldId id="1172" r:id="rId43"/>
    <p:sldId id="1122" r:id="rId44"/>
    <p:sldId id="1147" r:id="rId45"/>
    <p:sldId id="1148" r:id="rId46"/>
    <p:sldId id="1149" r:id="rId47"/>
    <p:sldId id="1150" r:id="rId48"/>
    <p:sldId id="1151" r:id="rId49"/>
    <p:sldId id="1152" r:id="rId50"/>
    <p:sldId id="1153" r:id="rId51"/>
    <p:sldId id="1195" r:id="rId52"/>
    <p:sldId id="1196" r:id="rId53"/>
    <p:sldId id="1117" r:id="rId54"/>
    <p:sldId id="1090" r:id="rId55"/>
    <p:sldId id="1157" r:id="rId56"/>
    <p:sldId id="1158" r:id="rId57"/>
    <p:sldId id="1159" r:id="rId58"/>
    <p:sldId id="1160" r:id="rId59"/>
  </p:sldIdLst>
  <p:sldSz cx="9906000" cy="6858000" type="A4"/>
  <p:notesSz cx="6797675" cy="9926638"/>
  <p:custDataLst>
    <p:tags r:id="rId6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638F3C0-8212-4A39-BAB8-9798B744BF31}">
          <p14:sldIdLst>
            <p14:sldId id="1082"/>
            <p14:sldId id="1091"/>
            <p14:sldId id="1203"/>
            <p14:sldId id="1207"/>
            <p14:sldId id="1208"/>
            <p14:sldId id="1209"/>
            <p14:sldId id="1210"/>
            <p14:sldId id="1211"/>
            <p14:sldId id="1212"/>
            <p14:sldId id="1213"/>
            <p14:sldId id="1214"/>
            <p14:sldId id="1215"/>
            <p14:sldId id="1216"/>
            <p14:sldId id="1217"/>
            <p14:sldId id="1218"/>
            <p14:sldId id="1219"/>
            <p14:sldId id="1178"/>
            <p14:sldId id="1179"/>
            <p14:sldId id="1180"/>
            <p14:sldId id="1181"/>
            <p14:sldId id="1183"/>
            <p14:sldId id="1199"/>
            <p14:sldId id="1186"/>
            <p14:sldId id="1187"/>
            <p14:sldId id="1098"/>
            <p14:sldId id="1128"/>
            <p14:sldId id="1129"/>
            <p14:sldId id="1200"/>
            <p14:sldId id="1198"/>
            <p14:sldId id="1110"/>
            <p14:sldId id="1189"/>
            <p14:sldId id="1139"/>
            <p14:sldId id="1194"/>
            <p14:sldId id="1201"/>
            <p14:sldId id="1202"/>
            <p14:sldId id="1170"/>
            <p14:sldId id="1146"/>
            <p14:sldId id="1116"/>
            <p14:sldId id="1173"/>
            <p14:sldId id="1171"/>
            <p14:sldId id="1172"/>
            <p14:sldId id="1122"/>
            <p14:sldId id="1147"/>
            <p14:sldId id="1148"/>
            <p14:sldId id="1149"/>
            <p14:sldId id="1150"/>
            <p14:sldId id="1151"/>
            <p14:sldId id="1152"/>
            <p14:sldId id="1153"/>
            <p14:sldId id="1195"/>
            <p14:sldId id="1196"/>
            <p14:sldId id="1117"/>
            <p14:sldId id="1090"/>
            <p14:sldId id="1157"/>
            <p14:sldId id="1158"/>
            <p14:sldId id="1159"/>
            <p14:sldId id="1160"/>
          </p14:sldIdLst>
        </p14:section>
        <p14:section name="Appendix" id="{B2E8CBB6-A5F3-4270-9FB0-52ECA96448A1}">
          <p14:sldIdLst/>
        </p14:section>
      </p14:sectionLst>
    </p:ext>
    <p:ext uri="{EFAFB233-063F-42B5-8137-9DF3F51BA10A}">
      <p15:sldGuideLst xmlns:p15="http://schemas.microsoft.com/office/powerpoint/2012/main">
        <p15:guide id="1" orient="horz" pos="119">
          <p15:clr>
            <a:srgbClr val="A4A3A4"/>
          </p15:clr>
        </p15:guide>
        <p15:guide id="2" orient="horz" pos="482">
          <p15:clr>
            <a:srgbClr val="A4A3A4"/>
          </p15:clr>
        </p15:guide>
        <p15:guide id="3" orient="horz" pos="2160">
          <p15:clr>
            <a:srgbClr val="A4A3A4"/>
          </p15:clr>
        </p15:guide>
        <p15:guide id="4" orient="horz" pos="536">
          <p15:clr>
            <a:srgbClr val="A4A3A4"/>
          </p15:clr>
        </p15:guide>
        <p15:guide id="5" orient="horz" pos="1043">
          <p15:clr>
            <a:srgbClr val="A4A3A4"/>
          </p15:clr>
        </p15:guide>
        <p15:guide id="6" pos="3120">
          <p15:clr>
            <a:srgbClr val="A4A3A4"/>
          </p15:clr>
        </p15:guide>
        <p15:guide id="7" pos="126">
          <p15:clr>
            <a:srgbClr val="A4A3A4"/>
          </p15:clr>
        </p15:guide>
        <p15:guide id="8" pos="6113">
          <p15:clr>
            <a:srgbClr val="A4A3A4"/>
          </p15:clr>
        </p15:guide>
        <p15:guide id="9" pos="6125">
          <p15:clr>
            <a:srgbClr val="A4A3A4"/>
          </p15:clr>
        </p15:guide>
        <p15:guide id="10" orient="horz" pos="2568">
          <p15:clr>
            <a:srgbClr val="A4A3A4"/>
          </p15:clr>
        </p15:guide>
        <p15:guide id="11" orient="horz" pos="1888">
          <p15:clr>
            <a:srgbClr val="A4A3A4"/>
          </p15:clr>
        </p15:guide>
        <p15:guide id="12" orient="horz" pos="3067">
          <p15:clr>
            <a:srgbClr val="A4A3A4"/>
          </p15:clr>
        </p15:guide>
        <p15:guide id="13" pos="4027">
          <p15:clr>
            <a:srgbClr val="A4A3A4"/>
          </p15:clr>
        </p15:guide>
        <p15:guide id="14" pos="6114">
          <p15:clr>
            <a:srgbClr val="A4A3A4"/>
          </p15:clr>
        </p15:guide>
        <p15:guide id="15" pos="3121">
          <p15:clr>
            <a:srgbClr val="A4A3A4"/>
          </p15:clr>
        </p15:guide>
        <p15:guide id="16" pos="125">
          <p15:clr>
            <a:srgbClr val="A4A3A4"/>
          </p15:clr>
        </p15:guide>
        <p15:guide id="17" pos="6126">
          <p15:clr>
            <a:srgbClr val="A4A3A4"/>
          </p15:clr>
        </p15:guide>
        <p15:guide id="18" pos="4028">
          <p15:clr>
            <a:srgbClr val="A4A3A4"/>
          </p15:clr>
        </p15:guide>
        <p15:guide id="19" pos="6115">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7" name="Autor" initials="A" lastIdx="0" clrIdx="3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9F0"/>
    <a:srgbClr val="BFD5E3"/>
    <a:srgbClr val="140848"/>
    <a:srgbClr val="153575"/>
    <a:srgbClr val="153D47"/>
    <a:srgbClr val="143448"/>
    <a:srgbClr val="669900"/>
    <a:srgbClr val="000000"/>
    <a:srgbClr val="FFFFFF"/>
    <a:srgbClr val="DB3F1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29" autoAdjust="0"/>
    <p:restoredTop sz="70025" autoAdjust="0"/>
  </p:normalViewPr>
  <p:slideViewPr>
    <p:cSldViewPr snapToGrid="0" showGuides="1">
      <p:cViewPr varScale="1">
        <p:scale>
          <a:sx n="106" d="100"/>
          <a:sy n="106" d="100"/>
        </p:scale>
        <p:origin x="3210" y="114"/>
      </p:cViewPr>
      <p:guideLst>
        <p:guide orient="horz" pos="119"/>
        <p:guide orient="horz" pos="482"/>
        <p:guide orient="horz" pos="2160"/>
        <p:guide orient="horz" pos="536"/>
        <p:guide orient="horz" pos="1043"/>
        <p:guide pos="3120"/>
        <p:guide pos="126"/>
        <p:guide pos="6113"/>
        <p:guide pos="6125"/>
        <p:guide orient="horz" pos="2568"/>
        <p:guide orient="horz" pos="1888"/>
        <p:guide orient="horz" pos="3067"/>
        <p:guide pos="4027"/>
        <p:guide pos="6114"/>
        <p:guide pos="3121"/>
        <p:guide pos="125"/>
        <p:guide pos="6126"/>
        <p:guide pos="4028"/>
        <p:guide pos="6115"/>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464"/>
    </p:cViewPr>
  </p:sorterViewPr>
  <p:notesViewPr>
    <p:cSldViewPr snapToGrid="0">
      <p:cViewPr>
        <p:scale>
          <a:sx n="100" d="100"/>
          <a:sy n="100" d="100"/>
        </p:scale>
        <p:origin x="-3474" y="103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handoutMaster" Target="handoutMasters/handoutMaster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6400"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1"/>
            <a:ext cx="2946400" cy="496332"/>
          </a:xfrm>
          <a:prstGeom prst="rect">
            <a:avLst/>
          </a:prstGeom>
        </p:spPr>
        <p:txBody>
          <a:bodyPr vert="horz" lIns="91440" tIns="45720" rIns="91440" bIns="45720" rtlCol="0"/>
          <a:lstStyle>
            <a:lvl1pPr algn="r">
              <a:defRPr sz="1200"/>
            </a:lvl1pPr>
          </a:lstStyle>
          <a:p>
            <a:fld id="{E2AADE24-2B94-4FF9-8596-6D495B870FFA}" type="datetimeFigureOut">
              <a:rPr lang="de-DE" smtClean="0"/>
              <a:t>20.11.2018</a:t>
            </a:fld>
            <a:endParaRPr lang="de-DE"/>
          </a:p>
        </p:txBody>
      </p:sp>
      <p:sp>
        <p:nvSpPr>
          <p:cNvPr id="4" name="Fußzeilenplatzhalter 3"/>
          <p:cNvSpPr>
            <a:spLocks noGrp="1"/>
          </p:cNvSpPr>
          <p:nvPr>
            <p:ph type="ftr" sz="quarter" idx="2"/>
          </p:nvPr>
        </p:nvSpPr>
        <p:spPr>
          <a:xfrm>
            <a:off x="0" y="9428711"/>
            <a:ext cx="2946400" cy="49633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8711"/>
            <a:ext cx="2946400" cy="496332"/>
          </a:xfrm>
          <a:prstGeom prst="rect">
            <a:avLst/>
          </a:prstGeom>
        </p:spPr>
        <p:txBody>
          <a:bodyPr vert="horz" lIns="91440" tIns="45720" rIns="91440" bIns="45720" rtlCol="0" anchor="b"/>
          <a:lstStyle>
            <a:lvl1pPr algn="r">
              <a:defRPr sz="1200"/>
            </a:lvl1pPr>
          </a:lstStyle>
          <a:p>
            <a:fld id="{6BDE720B-B141-47BB-86B2-BBAB1D685513}" type="slidenum">
              <a:rPr lang="de-DE" smtClean="0"/>
              <a:t>‹Nr.›</a:t>
            </a:fld>
            <a:endParaRPr lang="de-DE"/>
          </a:p>
        </p:txBody>
      </p:sp>
    </p:spTree>
    <p:extLst>
      <p:ext uri="{BB962C8B-B14F-4D97-AF65-F5344CB8AC3E}">
        <p14:creationId xmlns:p14="http://schemas.microsoft.com/office/powerpoint/2010/main" val="340363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4" y="1"/>
            <a:ext cx="2945659" cy="496332"/>
          </a:xfrm>
          <a:prstGeom prst="rect">
            <a:avLst/>
          </a:prstGeom>
        </p:spPr>
        <p:txBody>
          <a:bodyPr vert="horz" lIns="91440" tIns="45720" rIns="91440" bIns="45720" rtlCol="0"/>
          <a:lstStyle>
            <a:lvl1pPr algn="r">
              <a:defRPr sz="1200"/>
            </a:lvl1pPr>
          </a:lstStyle>
          <a:p>
            <a:fld id="{40F6402B-DB8C-4CD0-8333-1293CA7CBFB4}" type="datetimeFigureOut">
              <a:rPr lang="de-DE" smtClean="0"/>
              <a:t>20.11.2018</a:t>
            </a:fld>
            <a:endParaRPr lang="de-DE"/>
          </a:p>
        </p:txBody>
      </p:sp>
      <p:sp>
        <p:nvSpPr>
          <p:cNvPr id="4" name="Folienbildplatzhalt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4"/>
            <a:ext cx="5438140" cy="4466988"/>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9428584"/>
            <a:ext cx="2945659"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4" y="9428584"/>
            <a:ext cx="2945659" cy="496332"/>
          </a:xfrm>
          <a:prstGeom prst="rect">
            <a:avLst/>
          </a:prstGeom>
        </p:spPr>
        <p:txBody>
          <a:bodyPr vert="horz" lIns="91440" tIns="45720" rIns="91440" bIns="45720" rtlCol="0" anchor="b"/>
          <a:lstStyle>
            <a:lvl1pPr algn="r">
              <a:defRPr sz="1200"/>
            </a:lvl1pPr>
          </a:lstStyle>
          <a:p>
            <a:fld id="{273DC81D-38FA-4EFB-A816-49076D4E1450}" type="slidenum">
              <a:rPr lang="de-DE" smtClean="0"/>
              <a:t>‹Nr.›</a:t>
            </a:fld>
            <a:endParaRPr lang="de-DE"/>
          </a:p>
        </p:txBody>
      </p:sp>
    </p:spTree>
    <p:extLst>
      <p:ext uri="{BB962C8B-B14F-4D97-AF65-F5344CB8AC3E}">
        <p14:creationId xmlns:p14="http://schemas.microsoft.com/office/powerpoint/2010/main" val="31759537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11200" y="744538"/>
            <a:ext cx="5375275" cy="3722687"/>
          </a:xfrm>
        </p:spPr>
      </p:sp>
      <p:sp>
        <p:nvSpPr>
          <p:cNvPr id="3" name="Notizenplatzhalter 2"/>
          <p:cNvSpPr>
            <a:spLocks noGrp="1"/>
          </p:cNvSpPr>
          <p:nvPr>
            <p:ph type="body" idx="1"/>
          </p:nvPr>
        </p:nvSpPr>
        <p:spPr/>
        <p:txBody>
          <a:bodyPr/>
          <a:lstStyle/>
          <a:p>
            <a:r>
              <a:rPr lang="en-GB" sz="1200" kern="1200" dirty="0" smtClean="0">
                <a:solidFill>
                  <a:schemeClr val="tx1"/>
                </a:solidFill>
                <a:effectLst/>
                <a:latin typeface="+mn-lt"/>
                <a:ea typeface="+mn-ea"/>
                <a:cs typeface="+mn-cs"/>
              </a:rPr>
              <a:t> </a:t>
            </a:r>
          </a:p>
        </p:txBody>
      </p:sp>
      <p:sp>
        <p:nvSpPr>
          <p:cNvPr id="4" name="Foliennummernplatzhalter 3"/>
          <p:cNvSpPr>
            <a:spLocks noGrp="1"/>
          </p:cNvSpPr>
          <p:nvPr>
            <p:ph type="sldNum" sz="quarter" idx="10"/>
          </p:nvPr>
        </p:nvSpPr>
        <p:spPr/>
        <p:txBody>
          <a:bodyPr/>
          <a:lstStyle/>
          <a:p>
            <a:fld id="{273DC81D-38FA-4EFB-A816-49076D4E1450}" type="slidenum">
              <a:rPr lang="de-DE" smtClean="0"/>
              <a:t>0</a:t>
            </a:fld>
            <a:endParaRPr lang="de-DE"/>
          </a:p>
        </p:txBody>
      </p:sp>
    </p:spTree>
    <p:extLst>
      <p:ext uri="{BB962C8B-B14F-4D97-AF65-F5344CB8AC3E}">
        <p14:creationId xmlns:p14="http://schemas.microsoft.com/office/powerpoint/2010/main" val="2903543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aseline="0" noProof="0" dirty="0" smtClean="0"/>
          </a:p>
        </p:txBody>
      </p:sp>
      <p:sp>
        <p:nvSpPr>
          <p:cNvPr id="4" name="Foliennummernplatzhalter 3"/>
          <p:cNvSpPr>
            <a:spLocks noGrp="1"/>
          </p:cNvSpPr>
          <p:nvPr>
            <p:ph type="sldNum" sz="quarter" idx="10"/>
          </p:nvPr>
        </p:nvSpPr>
        <p:spPr/>
        <p:txBody>
          <a:bodyPr/>
          <a:lstStyle/>
          <a:p>
            <a:fld id="{273DC81D-38FA-4EFB-A816-49076D4E1450}" type="slidenum">
              <a:rPr lang="de-DE" smtClean="0">
                <a:solidFill>
                  <a:prstClr val="black"/>
                </a:solidFill>
              </a:rPr>
              <a:pPr/>
              <a:t>13</a:t>
            </a:fld>
            <a:endParaRPr lang="de-DE">
              <a:solidFill>
                <a:prstClr val="black"/>
              </a:solidFill>
            </a:endParaRPr>
          </a:p>
        </p:txBody>
      </p:sp>
    </p:spTree>
    <p:extLst>
      <p:ext uri="{BB962C8B-B14F-4D97-AF65-F5344CB8AC3E}">
        <p14:creationId xmlns:p14="http://schemas.microsoft.com/office/powerpoint/2010/main" val="25380548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11200" y="744538"/>
            <a:ext cx="5375275" cy="372268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75A143C9-1512-4BD4-88BC-3D7F468DC828}" type="slidenum">
              <a:rPr lang="en-GB" smtClean="0">
                <a:solidFill>
                  <a:prstClr val="black"/>
                </a:solidFill>
              </a:rPr>
              <a:pPr/>
              <a:t>15</a:t>
            </a:fld>
            <a:endParaRPr lang="en-GB">
              <a:solidFill>
                <a:prstClr val="black"/>
              </a:solidFill>
            </a:endParaRPr>
          </a:p>
        </p:txBody>
      </p:sp>
    </p:spTree>
    <p:extLst>
      <p:ext uri="{BB962C8B-B14F-4D97-AF65-F5344CB8AC3E}">
        <p14:creationId xmlns:p14="http://schemas.microsoft.com/office/powerpoint/2010/main" val="20935756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17</a:t>
            </a:fld>
            <a:endParaRPr lang="de-DE"/>
          </a:p>
        </p:txBody>
      </p:sp>
    </p:spTree>
    <p:extLst>
      <p:ext uri="{BB962C8B-B14F-4D97-AF65-F5344CB8AC3E}">
        <p14:creationId xmlns:p14="http://schemas.microsoft.com/office/powerpoint/2010/main" val="26520387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19</a:t>
            </a:fld>
            <a:endParaRPr lang="de-DE"/>
          </a:p>
        </p:txBody>
      </p:sp>
    </p:spTree>
    <p:extLst>
      <p:ext uri="{BB962C8B-B14F-4D97-AF65-F5344CB8AC3E}">
        <p14:creationId xmlns:p14="http://schemas.microsoft.com/office/powerpoint/2010/main" val="31880153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20</a:t>
            </a:fld>
            <a:endParaRPr lang="de-DE"/>
          </a:p>
        </p:txBody>
      </p:sp>
    </p:spTree>
    <p:extLst>
      <p:ext uri="{BB962C8B-B14F-4D97-AF65-F5344CB8AC3E}">
        <p14:creationId xmlns:p14="http://schemas.microsoft.com/office/powerpoint/2010/main" val="29419659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22</a:t>
            </a:fld>
            <a:endParaRPr lang="de-DE"/>
          </a:p>
        </p:txBody>
      </p:sp>
    </p:spTree>
    <p:extLst>
      <p:ext uri="{BB962C8B-B14F-4D97-AF65-F5344CB8AC3E}">
        <p14:creationId xmlns:p14="http://schemas.microsoft.com/office/powerpoint/2010/main" val="16028401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23</a:t>
            </a:fld>
            <a:endParaRPr lang="de-DE"/>
          </a:p>
        </p:txBody>
      </p:sp>
    </p:spTree>
    <p:extLst>
      <p:ext uri="{BB962C8B-B14F-4D97-AF65-F5344CB8AC3E}">
        <p14:creationId xmlns:p14="http://schemas.microsoft.com/office/powerpoint/2010/main" val="35087287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11200" y="744538"/>
            <a:ext cx="5375275" cy="3722687"/>
          </a:xfrm>
        </p:spPr>
      </p:sp>
      <p:sp>
        <p:nvSpPr>
          <p:cNvPr id="3" name="Notizenplatzhalter 2"/>
          <p:cNvSpPr>
            <a:spLocks noGrp="1"/>
          </p:cNvSpPr>
          <p:nvPr>
            <p:ph type="body" idx="1"/>
          </p:nvPr>
        </p:nvSpPr>
        <p:spPr/>
        <p:txBody>
          <a:bodyPr/>
          <a:lstStyle/>
          <a:p>
            <a:endParaRPr lang="en-US"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273DC81D-38FA-4EFB-A816-49076D4E1450}" type="slidenum">
              <a:rPr lang="de-DE" smtClean="0"/>
              <a:t>24</a:t>
            </a:fld>
            <a:endParaRPr lang="de-DE"/>
          </a:p>
        </p:txBody>
      </p:sp>
    </p:spTree>
    <p:extLst>
      <p:ext uri="{BB962C8B-B14F-4D97-AF65-F5344CB8AC3E}">
        <p14:creationId xmlns:p14="http://schemas.microsoft.com/office/powerpoint/2010/main" val="29035432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33</a:t>
            </a:fld>
            <a:endParaRPr lang="de-DE"/>
          </a:p>
        </p:txBody>
      </p:sp>
    </p:spTree>
    <p:extLst>
      <p:ext uri="{BB962C8B-B14F-4D97-AF65-F5344CB8AC3E}">
        <p14:creationId xmlns:p14="http://schemas.microsoft.com/office/powerpoint/2010/main" val="14655614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34</a:t>
            </a:fld>
            <a:endParaRPr lang="de-DE"/>
          </a:p>
        </p:txBody>
      </p:sp>
    </p:spTree>
    <p:extLst>
      <p:ext uri="{BB962C8B-B14F-4D97-AF65-F5344CB8AC3E}">
        <p14:creationId xmlns:p14="http://schemas.microsoft.com/office/powerpoint/2010/main" val="360947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11200" y="744538"/>
            <a:ext cx="5375275" cy="3722687"/>
          </a:xfrm>
        </p:spPr>
      </p:sp>
      <p:sp>
        <p:nvSpPr>
          <p:cNvPr id="3" name="Notizenplatzhalter 2"/>
          <p:cNvSpPr>
            <a:spLocks noGrp="1"/>
          </p:cNvSpPr>
          <p:nvPr>
            <p:ph type="body" idx="1"/>
          </p:nvPr>
        </p:nvSpPr>
        <p:spPr/>
        <p:txBody>
          <a:bodyPr/>
          <a:lstStyle/>
          <a:p>
            <a:endParaRPr lang="en-GB" dirty="0" smtClean="0"/>
          </a:p>
        </p:txBody>
      </p:sp>
      <p:sp>
        <p:nvSpPr>
          <p:cNvPr id="4" name="Foliennummernplatzhalter 3"/>
          <p:cNvSpPr>
            <a:spLocks noGrp="1"/>
          </p:cNvSpPr>
          <p:nvPr>
            <p:ph type="sldNum" sz="quarter" idx="10"/>
          </p:nvPr>
        </p:nvSpPr>
        <p:spPr/>
        <p:txBody>
          <a:bodyPr/>
          <a:lstStyle/>
          <a:p>
            <a:fld id="{75A143C9-1512-4BD4-88BC-3D7F468DC828}" type="slidenum">
              <a:rPr lang="en-GB" smtClean="0">
                <a:solidFill>
                  <a:prstClr val="black"/>
                </a:solidFill>
              </a:rPr>
              <a:pPr/>
              <a:t>3</a:t>
            </a:fld>
            <a:endParaRPr lang="en-GB">
              <a:solidFill>
                <a:prstClr val="black"/>
              </a:solidFill>
            </a:endParaRPr>
          </a:p>
        </p:txBody>
      </p:sp>
    </p:spTree>
    <p:extLst>
      <p:ext uri="{BB962C8B-B14F-4D97-AF65-F5344CB8AC3E}">
        <p14:creationId xmlns:p14="http://schemas.microsoft.com/office/powerpoint/2010/main" val="20935756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35</a:t>
            </a:fld>
            <a:endParaRPr lang="de-DE"/>
          </a:p>
        </p:txBody>
      </p:sp>
    </p:spTree>
    <p:extLst>
      <p:ext uri="{BB962C8B-B14F-4D97-AF65-F5344CB8AC3E}">
        <p14:creationId xmlns:p14="http://schemas.microsoft.com/office/powerpoint/2010/main" val="41478021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36</a:t>
            </a:fld>
            <a:endParaRPr lang="de-DE"/>
          </a:p>
        </p:txBody>
      </p:sp>
    </p:spTree>
    <p:extLst>
      <p:ext uri="{BB962C8B-B14F-4D97-AF65-F5344CB8AC3E}">
        <p14:creationId xmlns:p14="http://schemas.microsoft.com/office/powerpoint/2010/main" val="3960691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39</a:t>
            </a:fld>
            <a:endParaRPr lang="de-DE"/>
          </a:p>
        </p:txBody>
      </p:sp>
    </p:spTree>
    <p:extLst>
      <p:ext uri="{BB962C8B-B14F-4D97-AF65-F5344CB8AC3E}">
        <p14:creationId xmlns:p14="http://schemas.microsoft.com/office/powerpoint/2010/main" val="9882528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40</a:t>
            </a:fld>
            <a:endParaRPr lang="de-DE"/>
          </a:p>
        </p:txBody>
      </p:sp>
    </p:spTree>
    <p:extLst>
      <p:ext uri="{BB962C8B-B14F-4D97-AF65-F5344CB8AC3E}">
        <p14:creationId xmlns:p14="http://schemas.microsoft.com/office/powerpoint/2010/main" val="6871989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43</a:t>
            </a:fld>
            <a:endParaRPr lang="de-DE"/>
          </a:p>
        </p:txBody>
      </p:sp>
    </p:spTree>
    <p:extLst>
      <p:ext uri="{BB962C8B-B14F-4D97-AF65-F5344CB8AC3E}">
        <p14:creationId xmlns:p14="http://schemas.microsoft.com/office/powerpoint/2010/main" val="8326073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44</a:t>
            </a:fld>
            <a:endParaRPr lang="de-DE"/>
          </a:p>
        </p:txBody>
      </p:sp>
    </p:spTree>
    <p:extLst>
      <p:ext uri="{BB962C8B-B14F-4D97-AF65-F5344CB8AC3E}">
        <p14:creationId xmlns:p14="http://schemas.microsoft.com/office/powerpoint/2010/main" val="34964992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45</a:t>
            </a:fld>
            <a:endParaRPr lang="de-DE"/>
          </a:p>
        </p:txBody>
      </p:sp>
    </p:spTree>
    <p:extLst>
      <p:ext uri="{BB962C8B-B14F-4D97-AF65-F5344CB8AC3E}">
        <p14:creationId xmlns:p14="http://schemas.microsoft.com/office/powerpoint/2010/main" val="32044827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46</a:t>
            </a:fld>
            <a:endParaRPr lang="de-DE"/>
          </a:p>
        </p:txBody>
      </p:sp>
    </p:spTree>
    <p:extLst>
      <p:ext uri="{BB962C8B-B14F-4D97-AF65-F5344CB8AC3E}">
        <p14:creationId xmlns:p14="http://schemas.microsoft.com/office/powerpoint/2010/main" val="41405277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47</a:t>
            </a:fld>
            <a:endParaRPr lang="de-DE"/>
          </a:p>
        </p:txBody>
      </p:sp>
    </p:spTree>
    <p:extLst>
      <p:ext uri="{BB962C8B-B14F-4D97-AF65-F5344CB8AC3E}">
        <p14:creationId xmlns:p14="http://schemas.microsoft.com/office/powerpoint/2010/main" val="10269747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50</a:t>
            </a:fld>
            <a:endParaRPr lang="de-DE"/>
          </a:p>
        </p:txBody>
      </p:sp>
    </p:spTree>
    <p:extLst>
      <p:ext uri="{BB962C8B-B14F-4D97-AF65-F5344CB8AC3E}">
        <p14:creationId xmlns:p14="http://schemas.microsoft.com/office/powerpoint/2010/main" val="1231973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11200" y="744538"/>
            <a:ext cx="5375275" cy="372268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75A143C9-1512-4BD4-88BC-3D7F468DC828}"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20935756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52</a:t>
            </a:fld>
            <a:endParaRPr lang="de-DE"/>
          </a:p>
        </p:txBody>
      </p:sp>
    </p:spTree>
    <p:extLst>
      <p:ext uri="{BB962C8B-B14F-4D97-AF65-F5344CB8AC3E}">
        <p14:creationId xmlns:p14="http://schemas.microsoft.com/office/powerpoint/2010/main" val="389985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273DC81D-38FA-4EFB-A816-49076D4E1450}" type="slidenum">
              <a:rPr lang="de-DE" smtClean="0">
                <a:solidFill>
                  <a:prstClr val="black"/>
                </a:solidFill>
              </a:rPr>
              <a:pPr/>
              <a:t>6</a:t>
            </a:fld>
            <a:endParaRPr lang="de-DE">
              <a:solidFill>
                <a:prstClr val="black"/>
              </a:solidFill>
            </a:endParaRPr>
          </a:p>
        </p:txBody>
      </p:sp>
    </p:spTree>
    <p:extLst>
      <p:ext uri="{BB962C8B-B14F-4D97-AF65-F5344CB8AC3E}">
        <p14:creationId xmlns:p14="http://schemas.microsoft.com/office/powerpoint/2010/main" val="2170763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smtClean="0"/>
          </a:p>
        </p:txBody>
      </p:sp>
      <p:sp>
        <p:nvSpPr>
          <p:cNvPr id="4" name="Foliennummernplatzhalter 3"/>
          <p:cNvSpPr>
            <a:spLocks noGrp="1"/>
          </p:cNvSpPr>
          <p:nvPr>
            <p:ph type="sldNum" sz="quarter" idx="10"/>
          </p:nvPr>
        </p:nvSpPr>
        <p:spPr/>
        <p:txBody>
          <a:bodyPr/>
          <a:lstStyle/>
          <a:p>
            <a:fld id="{273DC81D-38FA-4EFB-A816-49076D4E1450}" type="slidenum">
              <a:rPr lang="de-DE" smtClean="0">
                <a:solidFill>
                  <a:prstClr val="black"/>
                </a:solidFill>
              </a:rPr>
              <a:pPr/>
              <a:t>7</a:t>
            </a:fld>
            <a:endParaRPr lang="de-DE">
              <a:solidFill>
                <a:prstClr val="black"/>
              </a:solidFill>
            </a:endParaRPr>
          </a:p>
        </p:txBody>
      </p:sp>
    </p:spTree>
    <p:extLst>
      <p:ext uri="{BB962C8B-B14F-4D97-AF65-F5344CB8AC3E}">
        <p14:creationId xmlns:p14="http://schemas.microsoft.com/office/powerpoint/2010/main" val="2170763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273DC81D-38FA-4EFB-A816-49076D4E1450}" type="slidenum">
              <a:rPr lang="de-DE" smtClean="0">
                <a:solidFill>
                  <a:prstClr val="black"/>
                </a:solidFill>
              </a:rPr>
              <a:pPr/>
              <a:t>8</a:t>
            </a:fld>
            <a:endParaRPr lang="de-DE">
              <a:solidFill>
                <a:prstClr val="black"/>
              </a:solidFill>
            </a:endParaRPr>
          </a:p>
        </p:txBody>
      </p:sp>
    </p:spTree>
    <p:extLst>
      <p:ext uri="{BB962C8B-B14F-4D97-AF65-F5344CB8AC3E}">
        <p14:creationId xmlns:p14="http://schemas.microsoft.com/office/powerpoint/2010/main" val="21707635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73DC81D-38FA-4EFB-A816-49076D4E1450}" type="slidenum">
              <a:rPr lang="de-DE" smtClean="0">
                <a:solidFill>
                  <a:prstClr val="black"/>
                </a:solidFill>
              </a:rPr>
              <a:pPr/>
              <a:t>10</a:t>
            </a:fld>
            <a:endParaRPr lang="de-DE">
              <a:solidFill>
                <a:prstClr val="black"/>
              </a:solidFill>
            </a:endParaRPr>
          </a:p>
        </p:txBody>
      </p:sp>
    </p:spTree>
    <p:extLst>
      <p:ext uri="{BB962C8B-B14F-4D97-AF65-F5344CB8AC3E}">
        <p14:creationId xmlns:p14="http://schemas.microsoft.com/office/powerpoint/2010/main" val="2359211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11200" y="744538"/>
            <a:ext cx="5375275" cy="3722687"/>
          </a:xfrm>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bg1">
                  <a:lumMod val="50000"/>
                </a:schemeClr>
              </a:solidFill>
              <a:latin typeface="+mn-lt"/>
              <a:ea typeface="+mn-ea"/>
              <a:cs typeface="+mn-cs"/>
            </a:endParaRPr>
          </a:p>
        </p:txBody>
      </p:sp>
      <p:sp>
        <p:nvSpPr>
          <p:cNvPr id="4" name="Foliennummernplatzhalter 3"/>
          <p:cNvSpPr>
            <a:spLocks noGrp="1"/>
          </p:cNvSpPr>
          <p:nvPr>
            <p:ph type="sldNum" sz="quarter" idx="10"/>
          </p:nvPr>
        </p:nvSpPr>
        <p:spPr/>
        <p:txBody>
          <a:bodyPr/>
          <a:lstStyle/>
          <a:p>
            <a:fld id="{75A143C9-1512-4BD4-88BC-3D7F468DC828}" type="slidenum">
              <a:rPr lang="en-GB" smtClean="0">
                <a:solidFill>
                  <a:prstClr val="black"/>
                </a:solidFill>
              </a:rPr>
              <a:pPr/>
              <a:t>11</a:t>
            </a:fld>
            <a:endParaRPr lang="en-GB">
              <a:solidFill>
                <a:prstClr val="black"/>
              </a:solidFill>
            </a:endParaRPr>
          </a:p>
        </p:txBody>
      </p:sp>
    </p:spTree>
    <p:extLst>
      <p:ext uri="{BB962C8B-B14F-4D97-AF65-F5344CB8AC3E}">
        <p14:creationId xmlns:p14="http://schemas.microsoft.com/office/powerpoint/2010/main" val="20935756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11200" y="744538"/>
            <a:ext cx="5375275" cy="372268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75A143C9-1512-4BD4-88BC-3D7F468DC828}"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209357569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1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8" name="Rechteck 7"/>
          <p:cNvSpPr/>
          <p:nvPr userDrawn="1"/>
        </p:nvSpPr>
        <p:spPr>
          <a:xfrm>
            <a:off x="1891144" y="3277938"/>
            <a:ext cx="9906000" cy="12001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9901786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26" name="think-cell Folie" r:id="rId6" imgW="341" imgH="340" progId="TCLayout.ActiveDocument.1">
                  <p:embed/>
                </p:oleObj>
              </mc:Choice>
              <mc:Fallback>
                <p:oleObj name="think-cell Folie" r:id="rId6" imgW="341" imgH="34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p:custDataLst>
              <p:tags r:id="rId3"/>
            </p:custDataLst>
          </p:nvPr>
        </p:nvSpPr>
        <p:spPr>
          <a:xfrm>
            <a:off x="2215654" y="3531195"/>
            <a:ext cx="8706483" cy="677108"/>
          </a:xfrm>
        </p:spPr>
        <p:txBody>
          <a:bodyPr/>
          <a:lstStyle>
            <a:lvl1pPr>
              <a:defRPr sz="4400" b="1" spc="300" baseline="0">
                <a:solidFill>
                  <a:schemeClr val="bg1"/>
                </a:solidFill>
              </a:defRPr>
            </a:lvl1pPr>
          </a:lstStyle>
          <a:p>
            <a:endParaRPr lang="de-DE" dirty="0"/>
          </a:p>
        </p:txBody>
      </p:sp>
      <p:sp>
        <p:nvSpPr>
          <p:cNvPr id="3" name="Untertitel 2"/>
          <p:cNvSpPr>
            <a:spLocks noGrp="1"/>
          </p:cNvSpPr>
          <p:nvPr>
            <p:ph type="subTitle" idx="1" hasCustomPrompt="1"/>
            <p:custDataLst>
              <p:tags r:id="rId4"/>
            </p:custDataLst>
          </p:nvPr>
        </p:nvSpPr>
        <p:spPr>
          <a:xfrm>
            <a:off x="1010315" y="5571109"/>
            <a:ext cx="8706483" cy="518091"/>
          </a:xfrm>
        </p:spPr>
        <p:txBody>
          <a:bodyPr/>
          <a:lstStyle>
            <a:lvl1pPr marL="0" indent="0" algn="l">
              <a:buNone/>
              <a:defRPr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Colleen Campbell</a:t>
            </a:r>
          </a:p>
          <a:p>
            <a:r>
              <a:rPr lang="de-DE" dirty="0" smtClean="0"/>
              <a:t>Canada, September 2018</a:t>
            </a:r>
            <a:endParaRPr lang="de-DE" dirty="0"/>
          </a:p>
        </p:txBody>
      </p:sp>
      <p:pic>
        <p:nvPicPr>
          <p:cNvPr id="9" name="Grafik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896235" y="514540"/>
            <a:ext cx="3269869" cy="1510641"/>
          </a:xfrm>
          <a:prstGeom prst="rect">
            <a:avLst/>
          </a:prstGeom>
        </p:spPr>
      </p:pic>
    </p:spTree>
    <p:extLst>
      <p:ext uri="{BB962C8B-B14F-4D97-AF65-F5344CB8AC3E}">
        <p14:creationId xmlns:p14="http://schemas.microsoft.com/office/powerpoint/2010/main" val="241625009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akt, Titel, Text">
    <p:spTree>
      <p:nvGrpSpPr>
        <p:cNvPr id="1" name=""/>
        <p:cNvGrpSpPr/>
        <p:nvPr/>
      </p:nvGrpSpPr>
      <p:grpSpPr>
        <a:xfrm>
          <a:off x="0" y="0"/>
          <a:ext cx="0" cy="0"/>
          <a:chOff x="0" y="0"/>
          <a:chExt cx="0" cy="0"/>
        </a:xfrm>
      </p:grpSpPr>
      <p:pic>
        <p:nvPicPr>
          <p:cNvPr id="18" name="Grafik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648884" y="6108205"/>
            <a:ext cx="1371008" cy="636827"/>
          </a:xfrm>
          <a:prstGeom prst="rect">
            <a:avLst/>
          </a:prstGeom>
        </p:spPr>
      </p:pic>
      <p:sp>
        <p:nvSpPr>
          <p:cNvPr id="5" name="Foliennummernplatzhalter 4"/>
          <p:cNvSpPr>
            <a:spLocks noGrp="1"/>
          </p:cNvSpPr>
          <p:nvPr>
            <p:ph type="sldNum" sz="quarter" idx="12"/>
          </p:nvPr>
        </p:nvSpPr>
        <p:spPr>
          <a:xfrm>
            <a:off x="8931442" y="6592861"/>
            <a:ext cx="773912" cy="167164"/>
          </a:xfrm>
        </p:spPr>
        <p:txBody>
          <a:bodyPr/>
          <a:lstStyle/>
          <a:p>
            <a:fld id="{4AD1E780-DE1C-4ECA-B5E5-863D0BC53287}" type="slidenum">
              <a:rPr lang="de-DE" smtClean="0"/>
              <a:pPr/>
              <a:t>‹Nr.›</a:t>
            </a:fld>
            <a:endParaRPr lang="de-DE" dirty="0"/>
          </a:p>
        </p:txBody>
      </p:sp>
      <p:sp>
        <p:nvSpPr>
          <p:cNvPr id="6" name="Textplatzhalter 9"/>
          <p:cNvSpPr>
            <a:spLocks noGrp="1"/>
          </p:cNvSpPr>
          <p:nvPr>
            <p:ph type="body" sz="quarter" idx="13" hasCustomPrompt="1"/>
            <p:custDataLst>
              <p:tags r:id="rId1"/>
            </p:custDataLst>
          </p:nvPr>
        </p:nvSpPr>
        <p:spPr>
          <a:xfrm>
            <a:off x="302342" y="426280"/>
            <a:ext cx="7175090" cy="697671"/>
          </a:xfrm>
        </p:spPr>
        <p:txBody>
          <a:bodyPr anchor="b" anchorCtr="0">
            <a:noAutofit/>
          </a:bodyPr>
          <a:lstStyle>
            <a:lvl1pPr marL="0" indent="0">
              <a:buNone/>
              <a:defRPr sz="4400" b="0">
                <a:solidFill>
                  <a:schemeClr val="tx2"/>
                </a:solidFill>
                <a:latin typeface="+mj-lt"/>
              </a:defRPr>
            </a:lvl1pPr>
            <a:lvl2pPr marL="0" indent="0">
              <a:buNone/>
              <a:defRPr sz="2400">
                <a:solidFill>
                  <a:schemeClr val="tx2"/>
                </a:solidFill>
                <a:latin typeface="+mj-lt"/>
              </a:defRPr>
            </a:lvl2pPr>
            <a:lvl3pPr marL="0" indent="0">
              <a:buNone/>
              <a:defRPr sz="2400">
                <a:solidFill>
                  <a:schemeClr val="tx2"/>
                </a:solidFill>
                <a:latin typeface="+mj-lt"/>
              </a:defRPr>
            </a:lvl3pPr>
            <a:lvl4pPr marL="0" indent="0">
              <a:buNone/>
              <a:defRPr sz="2400">
                <a:solidFill>
                  <a:schemeClr val="tx2"/>
                </a:solidFill>
                <a:latin typeface="+mj-lt"/>
              </a:defRPr>
            </a:lvl4pPr>
            <a:lvl5pPr marL="0" indent="0">
              <a:buNone/>
              <a:defRPr sz="2400">
                <a:solidFill>
                  <a:schemeClr val="tx2"/>
                </a:solidFill>
                <a:latin typeface="+mj-lt"/>
              </a:defRPr>
            </a:lvl5pPr>
          </a:lstStyle>
          <a:p>
            <a:pPr lvl="0"/>
            <a:r>
              <a:rPr lang="de-DE" dirty="0" smtClean="0"/>
              <a:t>BESCHREIBENDER TITEL</a:t>
            </a:r>
            <a:endParaRPr lang="de-DE" dirty="0"/>
          </a:p>
        </p:txBody>
      </p:sp>
      <p:sp>
        <p:nvSpPr>
          <p:cNvPr id="7" name="Inhaltsplatzhalter 2"/>
          <p:cNvSpPr>
            <a:spLocks noGrp="1"/>
          </p:cNvSpPr>
          <p:nvPr>
            <p:ph idx="1"/>
            <p:custDataLst>
              <p:tags r:id="rId2"/>
            </p:custDataLst>
          </p:nvPr>
        </p:nvSpPr>
        <p:spPr>
          <a:xfrm>
            <a:off x="317090" y="1600199"/>
            <a:ext cx="9404760" cy="13336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Rechteck 9"/>
          <p:cNvSpPr/>
          <p:nvPr userDrawn="1"/>
        </p:nvSpPr>
        <p:spPr>
          <a:xfrm>
            <a:off x="308731" y="148969"/>
            <a:ext cx="552575" cy="153888"/>
          </a:xfrm>
          <a:prstGeom prst="rect">
            <a:avLst/>
          </a:prstGeom>
        </p:spPr>
        <p:txBody>
          <a:bodyPr wrap="none" lIns="0" tIns="0" rIns="0" bIns="0">
            <a:noAutofit/>
          </a:bodyPr>
          <a:lstStyle/>
          <a:p>
            <a:r>
              <a:rPr lang="de-DE" sz="800" b="1" i="0" kern="1200" dirty="0" smtClean="0">
                <a:solidFill>
                  <a:schemeClr val="accent6"/>
                </a:solidFill>
                <a:latin typeface="+mn-lt"/>
                <a:ea typeface="+mn-ea"/>
                <a:cs typeface="+mn-cs"/>
              </a:rPr>
              <a:t>@oa2020ini</a:t>
            </a:r>
            <a:endParaRPr lang="de-DE" sz="800" b="1" i="0" dirty="0">
              <a:solidFill>
                <a:schemeClr val="accent6"/>
              </a:solidFill>
            </a:endParaRPr>
          </a:p>
        </p:txBody>
      </p:sp>
      <p:sp>
        <p:nvSpPr>
          <p:cNvPr id="2" name="Freihandform 1"/>
          <p:cNvSpPr/>
          <p:nvPr userDrawn="1"/>
        </p:nvSpPr>
        <p:spPr>
          <a:xfrm>
            <a:off x="7648884" y="5958738"/>
            <a:ext cx="2258125" cy="60555"/>
          </a:xfrm>
          <a:custGeom>
            <a:avLst/>
            <a:gdLst>
              <a:gd name="connsiteX0" fmla="*/ 0 w 2464641"/>
              <a:gd name="connsiteY0" fmla="*/ 835677 h 835677"/>
              <a:gd name="connsiteX1" fmla="*/ 0 w 2464641"/>
              <a:gd name="connsiteY1" fmla="*/ 0 h 835677"/>
              <a:gd name="connsiteX2" fmla="*/ 2464641 w 2464641"/>
              <a:gd name="connsiteY2" fmla="*/ 0 h 835677"/>
              <a:gd name="connsiteX0" fmla="*/ 0 w 2464641"/>
              <a:gd name="connsiteY0" fmla="*/ 0 h 0"/>
              <a:gd name="connsiteX1" fmla="*/ 2464641 w 2464641"/>
              <a:gd name="connsiteY1" fmla="*/ 0 h 0"/>
            </a:gdLst>
            <a:ahLst/>
            <a:cxnLst>
              <a:cxn ang="0">
                <a:pos x="connsiteX0" y="connsiteY0"/>
              </a:cxn>
              <a:cxn ang="0">
                <a:pos x="connsiteX1" y="connsiteY1"/>
              </a:cxn>
            </a:cxnLst>
            <a:rect l="l" t="t" r="r" b="b"/>
            <a:pathLst>
              <a:path w="2464641">
                <a:moveTo>
                  <a:pt x="0" y="0"/>
                </a:moveTo>
                <a:lnTo>
                  <a:pt x="2464641" y="0"/>
                </a:lnTo>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469481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ischen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967478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260" name="think-cell Folie" r:id="rId5" imgW="341" imgH="340" progId="TCLayout.ActiveDocument.1">
                  <p:embed/>
                </p:oleObj>
              </mc:Choice>
              <mc:Fallback>
                <p:oleObj name="think-cell Folie" r:id="rId5" imgW="341" imgH="34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hasCustomPrompt="1"/>
            <p:custDataLst>
              <p:tags r:id="rId3"/>
            </p:custDataLst>
          </p:nvPr>
        </p:nvSpPr>
        <p:spPr>
          <a:xfrm>
            <a:off x="658466" y="654024"/>
            <a:ext cx="8762625" cy="553998"/>
          </a:xfrm>
        </p:spPr>
        <p:txBody>
          <a:bodyPr/>
          <a:lstStyle>
            <a:lvl1pPr algn="l">
              <a:defRPr sz="3600" b="1" baseline="0">
                <a:solidFill>
                  <a:schemeClr val="accent6"/>
                </a:solidFill>
              </a:defRPr>
            </a:lvl1pPr>
          </a:lstStyle>
          <a:p>
            <a:r>
              <a:rPr lang="de-DE" dirty="0" smtClean="0"/>
              <a:t>Text Zwischenblatt</a:t>
            </a:r>
            <a:endParaRPr lang="de-DE" dirty="0"/>
          </a:p>
        </p:txBody>
      </p:sp>
    </p:spTree>
    <p:extLst>
      <p:ext uri="{BB962C8B-B14F-4D97-AF65-F5344CB8AC3E}">
        <p14:creationId xmlns:p14="http://schemas.microsoft.com/office/powerpoint/2010/main" val="411190467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4" name="Rechteck 3"/>
          <p:cNvSpPr/>
          <p:nvPr userDrawn="1"/>
        </p:nvSpPr>
        <p:spPr>
          <a:xfrm>
            <a:off x="0" y="3305908"/>
            <a:ext cx="9906000" cy="3552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9090128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236" name="think-cell Folie" r:id="rId6" imgW="341" imgH="340" progId="TCLayout.ActiveDocument.1">
                  <p:embed/>
                </p:oleObj>
              </mc:Choice>
              <mc:Fallback>
                <p:oleObj name="think-cell Folie" r:id="rId6" imgW="341" imgH="34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hasCustomPrompt="1"/>
            <p:custDataLst>
              <p:tags r:id="rId3"/>
            </p:custDataLst>
          </p:nvPr>
        </p:nvSpPr>
        <p:spPr>
          <a:xfrm>
            <a:off x="1010316" y="3522931"/>
            <a:ext cx="8706482" cy="369332"/>
          </a:xfrm>
        </p:spPr>
        <p:txBody>
          <a:bodyPr/>
          <a:lstStyle>
            <a:lvl1pPr>
              <a:defRPr sz="2400" b="1" baseline="0">
                <a:solidFill>
                  <a:schemeClr val="tx2"/>
                </a:solidFill>
              </a:defRPr>
            </a:lvl1pPr>
          </a:lstStyle>
          <a:p>
            <a:r>
              <a:rPr lang="de-DE" dirty="0" smtClean="0"/>
              <a:t>Präsentationstitel (plus ggf. Untertitel)</a:t>
            </a:r>
            <a:endParaRPr lang="de-DE" dirty="0"/>
          </a:p>
        </p:txBody>
      </p:sp>
      <p:sp>
        <p:nvSpPr>
          <p:cNvPr id="3" name="Untertitel 2"/>
          <p:cNvSpPr>
            <a:spLocks noGrp="1"/>
          </p:cNvSpPr>
          <p:nvPr>
            <p:ph type="subTitle" idx="1" hasCustomPrompt="1"/>
            <p:custDataLst>
              <p:tags r:id="rId4"/>
            </p:custDataLst>
          </p:nvPr>
        </p:nvSpPr>
        <p:spPr>
          <a:xfrm>
            <a:off x="1010316" y="5571107"/>
            <a:ext cx="8706482" cy="518091"/>
          </a:xfrm>
        </p:spPr>
        <p:txBody>
          <a:bodyPr/>
          <a:lstStyle>
            <a:lvl1pPr marL="0" indent="0" algn="l">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Anlass der Präsentation</a:t>
            </a:r>
          </a:p>
          <a:p>
            <a:r>
              <a:rPr lang="de-DE" dirty="0" smtClean="0"/>
              <a:t>Ort, Datum (Format: 01. Januar 2020)</a:t>
            </a:r>
            <a:endParaRPr lang="de-DE" dirty="0"/>
          </a:p>
        </p:txBody>
      </p:sp>
      <p:pic>
        <p:nvPicPr>
          <p:cNvPr id="9" name="Grafik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58969" y="187999"/>
            <a:ext cx="6354569" cy="2935737"/>
          </a:xfrm>
          <a:prstGeom prst="rect">
            <a:avLst/>
          </a:prstGeom>
        </p:spPr>
      </p:pic>
    </p:spTree>
    <p:extLst>
      <p:ext uri="{BB962C8B-B14F-4D97-AF65-F5344CB8AC3E}">
        <p14:creationId xmlns:p14="http://schemas.microsoft.com/office/powerpoint/2010/main" val="3206785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ischen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1462133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260" name="think-cell Folie" r:id="rId5" imgW="341" imgH="340" progId="TCLayout.ActiveDocument.1">
                  <p:embed/>
                </p:oleObj>
              </mc:Choice>
              <mc:Fallback>
                <p:oleObj name="think-cell Folie" r:id="rId5" imgW="341" imgH="34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hasCustomPrompt="1"/>
            <p:custDataLst>
              <p:tags r:id="rId3"/>
            </p:custDataLst>
          </p:nvPr>
        </p:nvSpPr>
        <p:spPr>
          <a:xfrm>
            <a:off x="194337" y="3133988"/>
            <a:ext cx="9517327" cy="369332"/>
          </a:xfrm>
        </p:spPr>
        <p:txBody>
          <a:bodyPr/>
          <a:lstStyle>
            <a:lvl1pPr algn="ctr">
              <a:defRPr sz="2400" b="1" baseline="0">
                <a:solidFill>
                  <a:schemeClr val="tx2"/>
                </a:solidFill>
              </a:defRPr>
            </a:lvl1pPr>
          </a:lstStyle>
          <a:p>
            <a:r>
              <a:rPr lang="de-DE" dirty="0" smtClean="0"/>
              <a:t>Text Zwischenblatt</a:t>
            </a:r>
            <a:endParaRPr lang="de-DE" dirty="0"/>
          </a:p>
        </p:txBody>
      </p:sp>
      <p:sp>
        <p:nvSpPr>
          <p:cNvPr id="8" name="Datumsplatzhalter 2"/>
          <p:cNvSpPr>
            <a:spLocks noGrp="1"/>
          </p:cNvSpPr>
          <p:nvPr>
            <p:ph type="dt" sz="half" idx="10"/>
          </p:nvPr>
        </p:nvSpPr>
        <p:spPr>
          <a:xfrm>
            <a:off x="317090" y="6689006"/>
            <a:ext cx="1014247" cy="168994"/>
          </a:xfrm>
        </p:spPr>
        <p:txBody>
          <a:bodyPr/>
          <a:lstStyle/>
          <a:p>
            <a:fld id="{CF4E8803-761A-423F-920A-7DEB27B16F30}" type="datetime1">
              <a:rPr lang="de-DE" smtClean="0">
                <a:solidFill>
                  <a:prstClr val="black">
                    <a:tint val="75000"/>
                  </a:prstClr>
                </a:solidFill>
              </a:rPr>
              <a:pPr/>
              <a:t>20.11.2018</a:t>
            </a:fld>
            <a:endParaRPr lang="de-DE">
              <a:solidFill>
                <a:prstClr val="black">
                  <a:tint val="75000"/>
                </a:prstClr>
              </a:solidFill>
            </a:endParaRPr>
          </a:p>
        </p:txBody>
      </p:sp>
      <p:sp>
        <p:nvSpPr>
          <p:cNvPr id="9" name="Fußzeilenplatzhalter 3"/>
          <p:cNvSpPr>
            <a:spLocks noGrp="1"/>
          </p:cNvSpPr>
          <p:nvPr>
            <p:ph type="ftr" sz="quarter" idx="11"/>
          </p:nvPr>
        </p:nvSpPr>
        <p:spPr>
          <a:xfrm>
            <a:off x="317090" y="6430296"/>
            <a:ext cx="8617360" cy="199103"/>
          </a:xfrm>
        </p:spPr>
        <p:txBody>
          <a:bodyPr/>
          <a:lstStyle>
            <a:lvl1pPr algn="l">
              <a:defRPr/>
            </a:lvl1pPr>
          </a:lstStyle>
          <a:p>
            <a:r>
              <a:rPr lang="de-DE" dirty="0" smtClean="0">
                <a:solidFill>
                  <a:prstClr val="black">
                    <a:tint val="75000"/>
                  </a:prstClr>
                </a:solidFill>
              </a:rPr>
              <a:t>Entwurf</a:t>
            </a:r>
            <a:endParaRPr lang="de-DE" dirty="0">
              <a:solidFill>
                <a:prstClr val="black">
                  <a:tint val="75000"/>
                </a:prstClr>
              </a:solidFill>
            </a:endParaRPr>
          </a:p>
        </p:txBody>
      </p:sp>
      <p:sp>
        <p:nvSpPr>
          <p:cNvPr id="10" name="Foliennummernplatzhalter 4"/>
          <p:cNvSpPr>
            <a:spLocks noGrp="1"/>
          </p:cNvSpPr>
          <p:nvPr>
            <p:ph type="sldNum" sz="quarter" idx="12"/>
          </p:nvPr>
        </p:nvSpPr>
        <p:spPr>
          <a:xfrm>
            <a:off x="8931442" y="6659477"/>
            <a:ext cx="773912" cy="167164"/>
          </a:xfrm>
        </p:spPr>
        <p:txBody>
          <a:bodyPr/>
          <a:lstStyle/>
          <a:p>
            <a:fld id="{4AD1E780-DE1C-4ECA-B5E5-863D0BC53287}" type="slidenum">
              <a:rPr lang="de-DE" smtClean="0">
                <a:solidFill>
                  <a:prstClr val="black">
                    <a:tint val="75000"/>
                  </a:prstClr>
                </a:solidFill>
              </a:rPr>
              <a:pPr/>
              <a:t>‹Nr.›</a:t>
            </a:fld>
            <a:endParaRPr lang="de-DE" dirty="0">
              <a:solidFill>
                <a:prstClr val="black">
                  <a:tint val="75000"/>
                </a:prstClr>
              </a:solidFill>
            </a:endParaRPr>
          </a:p>
        </p:txBody>
      </p:sp>
    </p:spTree>
    <p:extLst>
      <p:ext uri="{BB962C8B-B14F-4D97-AF65-F5344CB8AC3E}">
        <p14:creationId xmlns:p14="http://schemas.microsoft.com/office/powerpoint/2010/main" val="304419888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akt, Titel, Text">
    <p:spTree>
      <p:nvGrpSpPr>
        <p:cNvPr id="1" name=""/>
        <p:cNvGrpSpPr/>
        <p:nvPr/>
      </p:nvGrpSpPr>
      <p:grpSpPr>
        <a:xfrm>
          <a:off x="0" y="0"/>
          <a:ext cx="0" cy="0"/>
          <a:chOff x="0" y="0"/>
          <a:chExt cx="0" cy="0"/>
        </a:xfrm>
      </p:grpSpPr>
      <p:sp>
        <p:nvSpPr>
          <p:cNvPr id="9" name="Rechteck 8"/>
          <p:cNvSpPr/>
          <p:nvPr userDrawn="1"/>
        </p:nvSpPr>
        <p:spPr>
          <a:xfrm>
            <a:off x="0" y="0"/>
            <a:ext cx="9906000" cy="1200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2" name="Titel 1"/>
          <p:cNvSpPr>
            <a:spLocks noGrp="1"/>
          </p:cNvSpPr>
          <p:nvPr>
            <p:ph type="title" hasCustomPrompt="1"/>
          </p:nvPr>
        </p:nvSpPr>
        <p:spPr>
          <a:xfrm>
            <a:off x="302202" y="143193"/>
            <a:ext cx="7165951" cy="215444"/>
          </a:xfrm>
        </p:spPr>
        <p:txBody>
          <a:bodyPr/>
          <a:lstStyle>
            <a:lvl1pPr>
              <a:defRPr sz="1400">
                <a:solidFill>
                  <a:schemeClr val="tx2"/>
                </a:solidFill>
              </a:defRPr>
            </a:lvl1pPr>
          </a:lstStyle>
          <a:p>
            <a:r>
              <a:rPr lang="de-DE" dirty="0" smtClean="0"/>
              <a:t>Fakt ist X. Y muss getan werden.</a:t>
            </a:r>
            <a:endParaRPr lang="de-DE" dirty="0"/>
          </a:p>
        </p:txBody>
      </p:sp>
      <p:sp>
        <p:nvSpPr>
          <p:cNvPr id="3" name="Datumsplatzhalter 2"/>
          <p:cNvSpPr>
            <a:spLocks noGrp="1"/>
          </p:cNvSpPr>
          <p:nvPr>
            <p:ph type="dt" sz="half" idx="10"/>
          </p:nvPr>
        </p:nvSpPr>
        <p:spPr>
          <a:xfrm>
            <a:off x="317090" y="6689006"/>
            <a:ext cx="1014247" cy="168994"/>
          </a:xfrm>
        </p:spPr>
        <p:txBody>
          <a:bodyPr/>
          <a:lstStyle/>
          <a:p>
            <a:fld id="{CF4E8803-761A-423F-920A-7DEB27B16F30}" type="datetime1">
              <a:rPr lang="de-DE" smtClean="0">
                <a:solidFill>
                  <a:prstClr val="black">
                    <a:tint val="75000"/>
                  </a:prstClr>
                </a:solidFill>
              </a:rPr>
              <a:pPr/>
              <a:t>20.11.2018</a:t>
            </a:fld>
            <a:endParaRPr lang="de-DE">
              <a:solidFill>
                <a:prstClr val="black">
                  <a:tint val="75000"/>
                </a:prstClr>
              </a:solidFill>
            </a:endParaRPr>
          </a:p>
        </p:txBody>
      </p:sp>
      <p:sp>
        <p:nvSpPr>
          <p:cNvPr id="4" name="Fußzeilenplatzhalter 3"/>
          <p:cNvSpPr>
            <a:spLocks noGrp="1"/>
          </p:cNvSpPr>
          <p:nvPr>
            <p:ph type="ftr" sz="quarter" idx="11"/>
          </p:nvPr>
        </p:nvSpPr>
        <p:spPr>
          <a:xfrm>
            <a:off x="317090" y="6430296"/>
            <a:ext cx="8617360" cy="199103"/>
          </a:xfrm>
        </p:spPr>
        <p:txBody>
          <a:bodyPr/>
          <a:lstStyle>
            <a:lvl1pPr algn="l">
              <a:defRPr/>
            </a:lvl1pPr>
          </a:lstStyle>
          <a:p>
            <a:r>
              <a:rPr lang="de-DE" dirty="0" smtClean="0">
                <a:solidFill>
                  <a:prstClr val="black">
                    <a:tint val="75000"/>
                  </a:prstClr>
                </a:solidFill>
              </a:rPr>
              <a:t>Entwurf</a:t>
            </a:r>
            <a:endParaRPr lang="de-DE" dirty="0">
              <a:solidFill>
                <a:prstClr val="black">
                  <a:tint val="75000"/>
                </a:prstClr>
              </a:solidFill>
            </a:endParaRPr>
          </a:p>
        </p:txBody>
      </p:sp>
      <p:sp>
        <p:nvSpPr>
          <p:cNvPr id="5" name="Foliennummernplatzhalter 4"/>
          <p:cNvSpPr>
            <a:spLocks noGrp="1"/>
          </p:cNvSpPr>
          <p:nvPr>
            <p:ph type="sldNum" sz="quarter" idx="12"/>
          </p:nvPr>
        </p:nvSpPr>
        <p:spPr/>
        <p:txBody>
          <a:bodyPr/>
          <a:lstStyle/>
          <a:p>
            <a:fld id="{4AD1E780-DE1C-4ECA-B5E5-863D0BC53287}" type="slidenum">
              <a:rPr lang="de-DE" smtClean="0">
                <a:solidFill>
                  <a:prstClr val="black">
                    <a:tint val="75000"/>
                  </a:prstClr>
                </a:solidFill>
              </a:rPr>
              <a:pPr/>
              <a:t>‹Nr.›</a:t>
            </a:fld>
            <a:endParaRPr lang="de-DE" dirty="0">
              <a:solidFill>
                <a:prstClr val="black">
                  <a:tint val="75000"/>
                </a:prstClr>
              </a:solidFill>
            </a:endParaRPr>
          </a:p>
        </p:txBody>
      </p:sp>
      <p:sp>
        <p:nvSpPr>
          <p:cNvPr id="6" name="Textplatzhalter 9"/>
          <p:cNvSpPr>
            <a:spLocks noGrp="1"/>
          </p:cNvSpPr>
          <p:nvPr>
            <p:ph type="body" sz="quarter" idx="13" hasCustomPrompt="1"/>
            <p:custDataLst>
              <p:tags r:id="rId1"/>
            </p:custDataLst>
          </p:nvPr>
        </p:nvSpPr>
        <p:spPr>
          <a:xfrm>
            <a:off x="302342" y="426278"/>
            <a:ext cx="7175090" cy="697671"/>
          </a:xfrm>
        </p:spPr>
        <p:txBody>
          <a:bodyPr anchor="b" anchorCtr="0">
            <a:noAutofit/>
          </a:bodyPr>
          <a:lstStyle>
            <a:lvl1pPr marL="0" indent="0">
              <a:buNone/>
              <a:defRPr sz="2400" b="0">
                <a:solidFill>
                  <a:schemeClr val="tx2"/>
                </a:solidFill>
                <a:latin typeface="+mj-lt"/>
              </a:defRPr>
            </a:lvl1pPr>
            <a:lvl2pPr marL="0" indent="0">
              <a:buNone/>
              <a:defRPr sz="2400">
                <a:solidFill>
                  <a:schemeClr val="tx2"/>
                </a:solidFill>
                <a:latin typeface="+mj-lt"/>
              </a:defRPr>
            </a:lvl2pPr>
            <a:lvl3pPr marL="0" indent="0">
              <a:buNone/>
              <a:defRPr sz="2400">
                <a:solidFill>
                  <a:schemeClr val="tx2"/>
                </a:solidFill>
                <a:latin typeface="+mj-lt"/>
              </a:defRPr>
            </a:lvl3pPr>
            <a:lvl4pPr marL="0" indent="0">
              <a:buNone/>
              <a:defRPr sz="2400">
                <a:solidFill>
                  <a:schemeClr val="tx2"/>
                </a:solidFill>
                <a:latin typeface="+mj-lt"/>
              </a:defRPr>
            </a:lvl4pPr>
            <a:lvl5pPr marL="0" indent="0">
              <a:buNone/>
              <a:defRPr sz="2400">
                <a:solidFill>
                  <a:schemeClr val="tx2"/>
                </a:solidFill>
                <a:latin typeface="+mj-lt"/>
              </a:defRPr>
            </a:lvl5pPr>
          </a:lstStyle>
          <a:p>
            <a:pPr lvl="0"/>
            <a:r>
              <a:rPr lang="de-DE" dirty="0" smtClean="0"/>
              <a:t>Beschreibender Titel</a:t>
            </a:r>
            <a:endParaRPr lang="de-DE" dirty="0"/>
          </a:p>
        </p:txBody>
      </p:sp>
      <p:sp>
        <p:nvSpPr>
          <p:cNvPr id="7" name="Inhaltsplatzhalter 2"/>
          <p:cNvSpPr>
            <a:spLocks noGrp="1"/>
          </p:cNvSpPr>
          <p:nvPr>
            <p:ph idx="1"/>
            <p:custDataLst>
              <p:tags r:id="rId2"/>
            </p:custDataLst>
          </p:nvPr>
        </p:nvSpPr>
        <p:spPr>
          <a:xfrm>
            <a:off x="317090" y="1600199"/>
            <a:ext cx="9404760" cy="13336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30117" y="148967"/>
            <a:ext cx="2032167" cy="925927"/>
          </a:xfrm>
          <a:prstGeom prst="rect">
            <a:avLst/>
          </a:prstGeom>
        </p:spPr>
      </p:pic>
    </p:spTree>
    <p:extLst>
      <p:ext uri="{BB962C8B-B14F-4D97-AF65-F5344CB8AC3E}">
        <p14:creationId xmlns:p14="http://schemas.microsoft.com/office/powerpoint/2010/main" val="62699379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Fak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62588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9" name="Rechteck 8"/>
          <p:cNvSpPr/>
          <p:nvPr userDrawn="1"/>
        </p:nvSpPr>
        <p:spPr>
          <a:xfrm>
            <a:off x="0" y="0"/>
            <a:ext cx="9906000" cy="1200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pic>
        <p:nvPicPr>
          <p:cNvPr id="10" name="Grafik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30117" y="148967"/>
            <a:ext cx="2032167" cy="925927"/>
          </a:xfrm>
          <a:prstGeom prst="rect">
            <a:avLst/>
          </a:prstGeom>
        </p:spPr>
      </p:pic>
      <p:sp>
        <p:nvSpPr>
          <p:cNvPr id="2" name="Titel 1"/>
          <p:cNvSpPr>
            <a:spLocks noGrp="1"/>
          </p:cNvSpPr>
          <p:nvPr>
            <p:ph type="title" hasCustomPrompt="1"/>
          </p:nvPr>
        </p:nvSpPr>
        <p:spPr>
          <a:xfrm>
            <a:off x="318162" y="143193"/>
            <a:ext cx="7235163" cy="246221"/>
          </a:xfrm>
        </p:spPr>
        <p:txBody>
          <a:bodyPr/>
          <a:lstStyle/>
          <a:p>
            <a:r>
              <a:rPr lang="de-DE" dirty="0" smtClean="0"/>
              <a:t>Fakt ist X. Y muss getan werden.</a:t>
            </a:r>
            <a:endParaRPr lang="de-DE" dirty="0"/>
          </a:p>
        </p:txBody>
      </p:sp>
      <p:sp>
        <p:nvSpPr>
          <p:cNvPr id="3" name="Datumsplatzhalter 2"/>
          <p:cNvSpPr>
            <a:spLocks noGrp="1"/>
          </p:cNvSpPr>
          <p:nvPr>
            <p:ph type="dt" sz="half" idx="10"/>
          </p:nvPr>
        </p:nvSpPr>
        <p:spPr>
          <a:xfrm>
            <a:off x="318162" y="6657647"/>
            <a:ext cx="1014247" cy="168994"/>
          </a:xfrm>
        </p:spPr>
        <p:txBody>
          <a:bodyPr/>
          <a:lstStyle/>
          <a:p>
            <a:fld id="{CF4E8803-761A-423F-920A-7DEB27B16F30}" type="datetime1">
              <a:rPr lang="de-DE" smtClean="0">
                <a:solidFill>
                  <a:prstClr val="black">
                    <a:tint val="75000"/>
                  </a:prstClr>
                </a:solidFill>
              </a:rPr>
              <a:pPr/>
              <a:t>20.11.2018</a:t>
            </a:fld>
            <a:endParaRPr lang="de-DE">
              <a:solidFill>
                <a:prstClr val="black">
                  <a:tint val="75000"/>
                </a:prstClr>
              </a:solidFill>
            </a:endParaRPr>
          </a:p>
        </p:txBody>
      </p:sp>
      <p:sp>
        <p:nvSpPr>
          <p:cNvPr id="4" name="Fußzeilenplatzhalter 3"/>
          <p:cNvSpPr>
            <a:spLocks noGrp="1"/>
          </p:cNvSpPr>
          <p:nvPr>
            <p:ph type="ftr" sz="quarter" idx="11"/>
          </p:nvPr>
        </p:nvSpPr>
        <p:spPr>
          <a:xfrm>
            <a:off x="318161" y="6391275"/>
            <a:ext cx="8616289" cy="244866"/>
          </a:xfrm>
        </p:spPr>
        <p:txBody>
          <a:bodyPr/>
          <a:lstStyle/>
          <a:p>
            <a:r>
              <a:rPr lang="de-DE" smtClean="0">
                <a:solidFill>
                  <a:prstClr val="black">
                    <a:tint val="75000"/>
                  </a:prstClr>
                </a:solidFill>
              </a:rPr>
              <a:t>Entwurf</a:t>
            </a:r>
            <a:endParaRPr lang="de-DE" dirty="0">
              <a:solidFill>
                <a:prstClr val="black">
                  <a:tint val="75000"/>
                </a:prstClr>
              </a:solidFill>
            </a:endParaRPr>
          </a:p>
        </p:txBody>
      </p:sp>
      <p:sp>
        <p:nvSpPr>
          <p:cNvPr id="5" name="Foliennummernplatzhalter 4"/>
          <p:cNvSpPr>
            <a:spLocks noGrp="1"/>
          </p:cNvSpPr>
          <p:nvPr>
            <p:ph type="sldNum" sz="quarter" idx="12"/>
          </p:nvPr>
        </p:nvSpPr>
        <p:spPr/>
        <p:txBody>
          <a:bodyPr/>
          <a:lstStyle/>
          <a:p>
            <a:fld id="{4AD1E780-DE1C-4ECA-B5E5-863D0BC53287}" type="slidenum">
              <a:rPr lang="de-DE" smtClean="0">
                <a:solidFill>
                  <a:prstClr val="black">
                    <a:tint val="75000"/>
                  </a:prstClr>
                </a:solidFill>
              </a:rPr>
              <a:pPr/>
              <a:t>‹Nr.›</a:t>
            </a:fld>
            <a:endParaRPr lang="de-DE" dirty="0">
              <a:solidFill>
                <a:prstClr val="black">
                  <a:tint val="75000"/>
                </a:prstClr>
              </a:solidFill>
            </a:endParaRPr>
          </a:p>
        </p:txBody>
      </p:sp>
      <p:sp>
        <p:nvSpPr>
          <p:cNvPr id="7" name="Textplatzhalter 9"/>
          <p:cNvSpPr>
            <a:spLocks noGrp="1"/>
          </p:cNvSpPr>
          <p:nvPr>
            <p:ph type="body" sz="quarter" idx="13" hasCustomPrompt="1"/>
            <p:custDataLst>
              <p:tags r:id="rId1"/>
            </p:custDataLst>
          </p:nvPr>
        </p:nvSpPr>
        <p:spPr>
          <a:xfrm>
            <a:off x="318163" y="765175"/>
            <a:ext cx="7244687" cy="369332"/>
          </a:xfrm>
          <a:prstGeom prst="rect">
            <a:avLst/>
          </a:prstGeom>
        </p:spPr>
        <p:txBody>
          <a:bodyPr anchor="b" anchorCtr="0"/>
          <a:lstStyle>
            <a:lvl1pPr marL="0" indent="0">
              <a:buNone/>
              <a:defRPr sz="2400" b="0">
                <a:solidFill>
                  <a:schemeClr val="tx2"/>
                </a:solidFill>
                <a:latin typeface="+mj-lt"/>
              </a:defRPr>
            </a:lvl1pPr>
            <a:lvl2pPr marL="0" indent="0">
              <a:buNone/>
              <a:defRPr sz="2400">
                <a:solidFill>
                  <a:schemeClr val="tx2"/>
                </a:solidFill>
                <a:latin typeface="+mj-lt"/>
              </a:defRPr>
            </a:lvl2pPr>
            <a:lvl3pPr marL="0" indent="0">
              <a:buNone/>
              <a:defRPr sz="2400">
                <a:solidFill>
                  <a:schemeClr val="tx2"/>
                </a:solidFill>
                <a:latin typeface="+mj-lt"/>
              </a:defRPr>
            </a:lvl3pPr>
            <a:lvl4pPr marL="0" indent="0">
              <a:buNone/>
              <a:defRPr sz="2400">
                <a:solidFill>
                  <a:schemeClr val="tx2"/>
                </a:solidFill>
                <a:latin typeface="+mj-lt"/>
              </a:defRPr>
            </a:lvl4pPr>
            <a:lvl5pPr marL="0" indent="0">
              <a:buNone/>
              <a:defRPr sz="2400">
                <a:solidFill>
                  <a:schemeClr val="tx2"/>
                </a:solidFill>
                <a:latin typeface="+mj-lt"/>
              </a:defRPr>
            </a:lvl5pPr>
          </a:lstStyle>
          <a:p>
            <a:pPr lvl="0"/>
            <a:r>
              <a:rPr lang="de-DE" dirty="0" smtClean="0"/>
              <a:t>Agenda</a:t>
            </a:r>
            <a:endParaRPr lang="de-DE" dirty="0"/>
          </a:p>
        </p:txBody>
      </p:sp>
      <p:sp>
        <p:nvSpPr>
          <p:cNvPr id="11" name="Inhaltsplatzhalter 2"/>
          <p:cNvSpPr>
            <a:spLocks noGrp="1"/>
          </p:cNvSpPr>
          <p:nvPr>
            <p:ph idx="1"/>
            <p:custDataLst>
              <p:tags r:id="rId2"/>
            </p:custDataLst>
          </p:nvPr>
        </p:nvSpPr>
        <p:spPr>
          <a:xfrm>
            <a:off x="317090" y="1600199"/>
            <a:ext cx="9404760" cy="2503249"/>
          </a:xfrm>
          <a:prstGeom prst="rect">
            <a:avLst/>
          </a:prstGeom>
        </p:spPr>
        <p:txBody>
          <a:bodyPr/>
          <a:lstStyle>
            <a:lvl1pPr>
              <a:lnSpc>
                <a:spcPts val="3600"/>
              </a:lnSpc>
              <a:defRPr sz="2000">
                <a:solidFill>
                  <a:schemeClr val="tx2"/>
                </a:solidFill>
              </a:defRPr>
            </a:lvl1pPr>
            <a:lvl2pPr>
              <a:lnSpc>
                <a:spcPts val="3600"/>
              </a:lnSpc>
              <a:defRPr sz="2000">
                <a:solidFill>
                  <a:schemeClr val="tx2"/>
                </a:solidFill>
              </a:defRPr>
            </a:lvl2pPr>
            <a:lvl3pPr>
              <a:lnSpc>
                <a:spcPts val="3600"/>
              </a:lnSpc>
              <a:defRPr sz="2000">
                <a:solidFill>
                  <a:schemeClr val="tx2"/>
                </a:solidFill>
              </a:defRPr>
            </a:lvl3pPr>
            <a:lvl4pPr>
              <a:lnSpc>
                <a:spcPts val="3600"/>
              </a:lnSpc>
              <a:defRPr sz="2000">
                <a:solidFill>
                  <a:schemeClr val="tx2"/>
                </a:solidFill>
              </a:defRPr>
            </a:lvl4pPr>
            <a:lvl5pPr>
              <a:lnSpc>
                <a:spcPts val="3600"/>
              </a:lnSpc>
              <a:defRPr sz="2000">
                <a:solidFill>
                  <a:schemeClr val="tx2"/>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282631935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6.xml"/><Relationship Id="rId7" Type="http://schemas.openxmlformats.org/officeDocument/2006/relationships/vmlDrawing" Target="../drawings/vmlDrawing4.v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2.xml"/><Relationship Id="rId5" Type="http://schemas.openxmlformats.org/officeDocument/2006/relationships/slideLayout" Target="../slideLayouts/slideLayout8.xml"/><Relationship Id="rId10" Type="http://schemas.openxmlformats.org/officeDocument/2006/relationships/image" Target="../media/image1.emf"/><Relationship Id="rId4" Type="http://schemas.openxmlformats.org/officeDocument/2006/relationships/slideLayout" Target="../slideLayouts/slideLayout7.xml"/><Relationship Id="rId9"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6"/>
            </p:custDataLst>
            <p:extLst>
              <p:ext uri="{D42A27DB-BD31-4B8C-83A1-F6EECF244321}">
                <p14:modId xmlns:p14="http://schemas.microsoft.com/office/powerpoint/2010/main" val="9824787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48" name="think-cell Folie" r:id="rId7" imgW="341" imgH="340" progId="TCLayout.ActiveDocument.1">
                  <p:embed/>
                </p:oleObj>
              </mc:Choice>
              <mc:Fallback>
                <p:oleObj name="think-cell Folie" r:id="rId7" imgW="341" imgH="34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elplatzhalter 1"/>
          <p:cNvSpPr>
            <a:spLocks noGrp="1"/>
          </p:cNvSpPr>
          <p:nvPr>
            <p:ph type="title"/>
          </p:nvPr>
        </p:nvSpPr>
        <p:spPr>
          <a:xfrm>
            <a:off x="194337" y="143195"/>
            <a:ext cx="7494967" cy="246221"/>
          </a:xfrm>
          <a:prstGeom prst="rect">
            <a:avLst/>
          </a:prstGeom>
        </p:spPr>
        <p:txBody>
          <a:bodyPr vert="horz" wrap="square" lIns="0" tIns="0" rIns="0" bIns="0" rtlCol="0" anchor="t">
            <a:spAutoFit/>
          </a:bodyPr>
          <a:lstStyle/>
          <a:p>
            <a:r>
              <a:rPr lang="de-DE" dirty="0" smtClean="0"/>
              <a:t>Fakt ist X. Y muss getan werden.</a:t>
            </a:r>
          </a:p>
        </p:txBody>
      </p:sp>
      <p:sp>
        <p:nvSpPr>
          <p:cNvPr id="3" name="Textplatzhalter 2"/>
          <p:cNvSpPr>
            <a:spLocks noGrp="1"/>
          </p:cNvSpPr>
          <p:nvPr>
            <p:ph type="body" idx="1"/>
          </p:nvPr>
        </p:nvSpPr>
        <p:spPr>
          <a:xfrm>
            <a:off x="194338" y="1600200"/>
            <a:ext cx="9386459" cy="1333698"/>
          </a:xfrm>
          <a:prstGeom prst="rect">
            <a:avLst/>
          </a:prstGeom>
        </p:spPr>
        <p:txBody>
          <a:bodyPr vert="horz" wrap="square" lIns="0" tIns="0" rIns="0" bIns="0" rtlCol="0">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194338" y="6657647"/>
            <a:ext cx="1014247" cy="168994"/>
          </a:xfrm>
          <a:prstGeom prst="rect">
            <a:avLst/>
          </a:prstGeom>
        </p:spPr>
        <p:txBody>
          <a:bodyPr vert="horz" wrap="none" lIns="0" tIns="0" rIns="0" bIns="0" rtlCol="0" anchor="b"/>
          <a:lstStyle>
            <a:lvl1pPr algn="l">
              <a:defRPr sz="800">
                <a:solidFill>
                  <a:schemeClr val="tx1">
                    <a:tint val="75000"/>
                  </a:schemeClr>
                </a:solidFill>
              </a:defRPr>
            </a:lvl1pPr>
          </a:lstStyle>
          <a:p>
            <a:fld id="{CF4E8803-761A-423F-920A-7DEB27B16F30}" type="datetime1">
              <a:rPr lang="de-DE" smtClean="0"/>
              <a:pPr/>
              <a:t>20.11.2018</a:t>
            </a:fld>
            <a:endParaRPr lang="de-DE"/>
          </a:p>
        </p:txBody>
      </p:sp>
      <p:sp>
        <p:nvSpPr>
          <p:cNvPr id="5" name="Fußzeilenplatzhalter 4"/>
          <p:cNvSpPr>
            <a:spLocks noGrp="1"/>
          </p:cNvSpPr>
          <p:nvPr>
            <p:ph type="ftr" sz="quarter" idx="3"/>
          </p:nvPr>
        </p:nvSpPr>
        <p:spPr>
          <a:xfrm>
            <a:off x="194338" y="6391275"/>
            <a:ext cx="8740113" cy="244866"/>
          </a:xfrm>
          <a:prstGeom prst="rect">
            <a:avLst/>
          </a:prstGeom>
        </p:spPr>
        <p:txBody>
          <a:bodyPr vert="horz" wrap="none" lIns="0" tIns="0" rIns="0" bIns="0" rtlCol="0" anchor="b"/>
          <a:lstStyle>
            <a:lvl1pPr algn="l">
              <a:defRPr sz="800">
                <a:solidFill>
                  <a:schemeClr val="tx1">
                    <a:tint val="75000"/>
                  </a:schemeClr>
                </a:solidFill>
              </a:defRPr>
            </a:lvl1pPr>
          </a:lstStyle>
          <a:p>
            <a:r>
              <a:rPr lang="de-DE" dirty="0" smtClean="0"/>
              <a:t>Entwurf</a:t>
            </a:r>
            <a:endParaRPr lang="de-DE" dirty="0"/>
          </a:p>
        </p:txBody>
      </p:sp>
      <p:sp>
        <p:nvSpPr>
          <p:cNvPr id="6" name="Foliennummernplatzhalter 5"/>
          <p:cNvSpPr>
            <a:spLocks noGrp="1"/>
          </p:cNvSpPr>
          <p:nvPr>
            <p:ph type="sldNum" sz="quarter" idx="4"/>
          </p:nvPr>
        </p:nvSpPr>
        <p:spPr>
          <a:xfrm>
            <a:off x="8931442" y="6659477"/>
            <a:ext cx="773912" cy="167164"/>
          </a:xfrm>
          <a:prstGeom prst="rect">
            <a:avLst/>
          </a:prstGeom>
        </p:spPr>
        <p:txBody>
          <a:bodyPr vert="horz" wrap="none" lIns="0" tIns="0" rIns="0" bIns="0" rtlCol="0" anchor="b"/>
          <a:lstStyle>
            <a:lvl1pPr algn="r">
              <a:defRPr sz="800">
                <a:solidFill>
                  <a:schemeClr val="tx1">
                    <a:tint val="75000"/>
                  </a:schemeClr>
                </a:solidFill>
              </a:defRPr>
            </a:lvl1pPr>
          </a:lstStyle>
          <a:p>
            <a:fld id="{4AD1E780-DE1C-4ECA-B5E5-863D0BC53287}" type="slidenum">
              <a:rPr lang="de-DE" smtClean="0"/>
              <a:pPr/>
              <a:t>‹Nr.›</a:t>
            </a:fld>
            <a:endParaRPr lang="de-DE" dirty="0"/>
          </a:p>
        </p:txBody>
      </p:sp>
    </p:spTree>
    <p:extLst>
      <p:ext uri="{BB962C8B-B14F-4D97-AF65-F5344CB8AC3E}">
        <p14:creationId xmlns:p14="http://schemas.microsoft.com/office/powerpoint/2010/main" val="3895257987"/>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6" r:id="rId3"/>
  </p:sldLayoutIdLst>
  <p:timing>
    <p:tnLst>
      <p:par>
        <p:cTn id="1" dur="indefinite" restart="never" nodeType="tmRoot"/>
      </p:par>
    </p:tnLst>
  </p:timing>
  <p:hf hdr="0"/>
  <p:txStyles>
    <p:titleStyle>
      <a:lvl1pPr algn="l" defTabSz="914400" rtl="0" eaLnBrk="1" latinLnBrk="0" hangingPunct="1">
        <a:spcBef>
          <a:spcPct val="0"/>
        </a:spcBef>
        <a:buNone/>
        <a:defRPr sz="1600" kern="1200" baseline="0">
          <a:solidFill>
            <a:schemeClr val="tx2"/>
          </a:solidFill>
          <a:latin typeface="+mj-lt"/>
          <a:ea typeface="+mj-ea"/>
          <a:cs typeface="+mj-cs"/>
        </a:defRPr>
      </a:lvl1pPr>
    </p:titleStyle>
    <p:body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29004384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212" name="think-cell Folie" r:id="rId9" imgW="341" imgH="340" progId="TCLayout.ActiveDocument.1">
                  <p:embed/>
                </p:oleObj>
              </mc:Choice>
              <mc:Fallback>
                <p:oleObj name="think-cell Folie" r:id="rId9" imgW="341" imgH="34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elplatzhalter 1"/>
          <p:cNvSpPr>
            <a:spLocks noGrp="1"/>
          </p:cNvSpPr>
          <p:nvPr>
            <p:ph type="title"/>
          </p:nvPr>
        </p:nvSpPr>
        <p:spPr>
          <a:xfrm>
            <a:off x="194337" y="143193"/>
            <a:ext cx="7494967" cy="246221"/>
          </a:xfrm>
          <a:prstGeom prst="rect">
            <a:avLst/>
          </a:prstGeom>
        </p:spPr>
        <p:txBody>
          <a:bodyPr vert="horz" wrap="square" lIns="0" tIns="0" rIns="0" bIns="0" rtlCol="0" anchor="t">
            <a:spAutoFit/>
          </a:bodyPr>
          <a:lstStyle/>
          <a:p>
            <a:r>
              <a:rPr lang="de-DE" dirty="0" smtClean="0"/>
              <a:t>Fakt ist X. Y muss getan werden.</a:t>
            </a:r>
          </a:p>
        </p:txBody>
      </p:sp>
      <p:sp>
        <p:nvSpPr>
          <p:cNvPr id="3" name="Textplatzhalter 2"/>
          <p:cNvSpPr>
            <a:spLocks noGrp="1"/>
          </p:cNvSpPr>
          <p:nvPr>
            <p:ph type="body" idx="1"/>
          </p:nvPr>
        </p:nvSpPr>
        <p:spPr>
          <a:xfrm>
            <a:off x="194337" y="1600200"/>
            <a:ext cx="9386459" cy="1333698"/>
          </a:xfrm>
          <a:prstGeom prst="rect">
            <a:avLst/>
          </a:prstGeom>
        </p:spPr>
        <p:txBody>
          <a:bodyPr vert="horz" wrap="square" lIns="0" tIns="0" rIns="0" bIns="0" rtlCol="0">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194337" y="6657647"/>
            <a:ext cx="1014247" cy="168994"/>
          </a:xfrm>
          <a:prstGeom prst="rect">
            <a:avLst/>
          </a:prstGeom>
        </p:spPr>
        <p:txBody>
          <a:bodyPr vert="horz" wrap="none" lIns="0" tIns="0" rIns="0" bIns="0" rtlCol="0" anchor="b"/>
          <a:lstStyle>
            <a:lvl1pPr algn="l">
              <a:defRPr sz="800">
                <a:solidFill>
                  <a:schemeClr val="tx1">
                    <a:tint val="75000"/>
                  </a:schemeClr>
                </a:solidFill>
              </a:defRPr>
            </a:lvl1pPr>
          </a:lstStyle>
          <a:p>
            <a:fld id="{CF4E8803-761A-423F-920A-7DEB27B16F30}" type="datetime1">
              <a:rPr lang="de-DE" smtClean="0">
                <a:solidFill>
                  <a:prstClr val="black">
                    <a:tint val="75000"/>
                  </a:prstClr>
                </a:solidFill>
              </a:rPr>
              <a:pPr/>
              <a:t>20.11.2018</a:t>
            </a:fld>
            <a:endParaRPr lang="de-DE">
              <a:solidFill>
                <a:prstClr val="black">
                  <a:tint val="75000"/>
                </a:prstClr>
              </a:solidFill>
            </a:endParaRPr>
          </a:p>
        </p:txBody>
      </p:sp>
      <p:sp>
        <p:nvSpPr>
          <p:cNvPr id="5" name="Fußzeilenplatzhalter 4"/>
          <p:cNvSpPr>
            <a:spLocks noGrp="1"/>
          </p:cNvSpPr>
          <p:nvPr>
            <p:ph type="ftr" sz="quarter" idx="3"/>
          </p:nvPr>
        </p:nvSpPr>
        <p:spPr>
          <a:xfrm>
            <a:off x="194336" y="6391275"/>
            <a:ext cx="8740113" cy="244866"/>
          </a:xfrm>
          <a:prstGeom prst="rect">
            <a:avLst/>
          </a:prstGeom>
        </p:spPr>
        <p:txBody>
          <a:bodyPr vert="horz" wrap="none" lIns="0" tIns="0" rIns="0" bIns="0" rtlCol="0" anchor="b"/>
          <a:lstStyle>
            <a:lvl1pPr algn="l">
              <a:defRPr sz="800">
                <a:solidFill>
                  <a:schemeClr val="tx1">
                    <a:tint val="75000"/>
                  </a:schemeClr>
                </a:solidFill>
              </a:defRPr>
            </a:lvl1pPr>
          </a:lstStyle>
          <a:p>
            <a:r>
              <a:rPr lang="de-DE" dirty="0" smtClean="0">
                <a:solidFill>
                  <a:prstClr val="black">
                    <a:tint val="75000"/>
                  </a:prstClr>
                </a:solidFill>
              </a:rPr>
              <a:t>Entwurf</a:t>
            </a:r>
            <a:endParaRPr lang="de-DE" dirty="0">
              <a:solidFill>
                <a:prstClr val="black">
                  <a:tint val="75000"/>
                </a:prstClr>
              </a:solidFill>
            </a:endParaRPr>
          </a:p>
        </p:txBody>
      </p:sp>
      <p:sp>
        <p:nvSpPr>
          <p:cNvPr id="6" name="Foliennummernplatzhalter 5"/>
          <p:cNvSpPr>
            <a:spLocks noGrp="1"/>
          </p:cNvSpPr>
          <p:nvPr>
            <p:ph type="sldNum" sz="quarter" idx="4"/>
          </p:nvPr>
        </p:nvSpPr>
        <p:spPr>
          <a:xfrm>
            <a:off x="8931442" y="6659477"/>
            <a:ext cx="773912" cy="167164"/>
          </a:xfrm>
          <a:prstGeom prst="rect">
            <a:avLst/>
          </a:prstGeom>
        </p:spPr>
        <p:txBody>
          <a:bodyPr vert="horz" wrap="none" lIns="0" tIns="0" rIns="0" bIns="0" rtlCol="0" anchor="b"/>
          <a:lstStyle>
            <a:lvl1pPr algn="r">
              <a:defRPr sz="800">
                <a:solidFill>
                  <a:schemeClr val="tx1">
                    <a:tint val="75000"/>
                  </a:schemeClr>
                </a:solidFill>
              </a:defRPr>
            </a:lvl1pPr>
          </a:lstStyle>
          <a:p>
            <a:fld id="{4AD1E780-DE1C-4ECA-B5E5-863D0BC53287}" type="slidenum">
              <a:rPr lang="de-DE" smtClean="0">
                <a:solidFill>
                  <a:prstClr val="black">
                    <a:tint val="75000"/>
                  </a:prstClr>
                </a:solidFill>
              </a:rPr>
              <a:pPr/>
              <a:t>‹Nr.›</a:t>
            </a:fld>
            <a:endParaRPr lang="de-DE" dirty="0">
              <a:solidFill>
                <a:prstClr val="black">
                  <a:tint val="75000"/>
                </a:prstClr>
              </a:solidFill>
            </a:endParaRPr>
          </a:p>
        </p:txBody>
      </p:sp>
    </p:spTree>
    <p:extLst>
      <p:ext uri="{BB962C8B-B14F-4D97-AF65-F5344CB8AC3E}">
        <p14:creationId xmlns:p14="http://schemas.microsoft.com/office/powerpoint/2010/main" val="328094400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Lst>
  <p:timing>
    <p:tnLst>
      <p:par>
        <p:cTn id="1" dur="indefinite" restart="never" nodeType="tmRoot"/>
      </p:par>
    </p:tnLst>
  </p:timing>
  <p:hf hdr="0"/>
  <p:txStyles>
    <p:titleStyle>
      <a:lvl1pPr algn="l" defTabSz="914400" rtl="0" eaLnBrk="1" latinLnBrk="0" hangingPunct="1">
        <a:spcBef>
          <a:spcPct val="0"/>
        </a:spcBef>
        <a:buNone/>
        <a:defRPr sz="1600" kern="1200" baseline="0">
          <a:solidFill>
            <a:schemeClr val="tx2"/>
          </a:solidFill>
          <a:latin typeface="+mj-lt"/>
          <a:ea typeface="+mj-ea"/>
          <a:cs typeface="+mj-cs"/>
        </a:defRPr>
      </a:lvl1pPr>
    </p:titleStyle>
    <p:body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7.emf"/><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Layout" Target="../slideLayouts/slideLayout8.xml"/><Relationship Id="rId4" Type="http://schemas.openxmlformats.org/officeDocument/2006/relationships/tags" Target="../tags/tag5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hyperlink" Target="http://dx.doi.org/10.17617/1.3" TargetMode="External"/><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4.xml"/><Relationship Id="rId1" Type="http://schemas.openxmlformats.org/officeDocument/2006/relationships/vmlDrawing" Target="../drawings/vmlDrawing11.vml"/><Relationship Id="rId6" Type="http://schemas.openxmlformats.org/officeDocument/2006/relationships/image" Target="../media/image14.emf"/><Relationship Id="rId5" Type="http://schemas.openxmlformats.org/officeDocument/2006/relationships/oleObject" Target="../embeddings/oleObject11.bin"/><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hyperlink" Target="http://dx.doi.org/10.17617/1.2" TargetMode="External"/><Relationship Id="rId2" Type="http://schemas.openxmlformats.org/officeDocument/2006/relationships/hyperlink" Target="http://dx.doi.org/10.17617/1.3%20(28" TargetMode="Externa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hyperlink" Target="https://treemaps.intact-project.org/apcdata/openapc/" TargetMode="External"/><Relationship Id="rId2" Type="http://schemas.openxmlformats.org/officeDocument/2006/relationships/hyperlink" Target="http://hdl.handle.net/11858/00-001M-0000-0026-C274-7" TargetMode="External"/><Relationship Id="rId1" Type="http://schemas.openxmlformats.org/officeDocument/2006/relationships/slideLayout" Target="../slideLayouts/slideLayout2.xml"/><Relationship Id="rId6" Type="http://schemas.openxmlformats.org/officeDocument/2006/relationships/image" Target="../media/image17.png"/><Relationship Id="rId5" Type="http://schemas.microsoft.com/office/2007/relationships/hdphoto" Target="../media/hdphoto1.wdp"/><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hyperlink" Target="https://treemaps.intact-project.org/"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hyperlink" Target="https://treemaps.intact-project.org/"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5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hyperlink" Target="https://www.nature.com/articles/d41586-018-05191-0" TargetMode="External"/><Relationship Id="rId2" Type="http://schemas.openxmlformats.org/officeDocument/2006/relationships/image" Target="../media/image20.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Layout" Target="../slideLayouts/slideLayout8.xml"/><Relationship Id="rId4" Type="http://schemas.openxmlformats.org/officeDocument/2006/relationships/tags" Target="../tags/tag23.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hyperlink" Target="https://osc.universityofcalifornia.edu/2018/06/championing-change-in-journal-negotiations/" TargetMode="External"/><Relationship Id="rId5" Type="http://schemas.openxmlformats.org/officeDocument/2006/relationships/image" Target="../media/image28.png"/><Relationship Id="rId4" Type="http://schemas.openxmlformats.org/officeDocument/2006/relationships/image" Target="../media/image27.png"/></Relationships>
</file>

<file path=ppt/slides/_rels/slide33.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image" Target="../media/image29.jpeg"/><Relationship Id="rId1" Type="http://schemas.openxmlformats.org/officeDocument/2006/relationships/slideLayout" Target="../slideLayouts/slideLayout2.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s>
</file>

<file path=ppt/slides/_rels/slide3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gif"/></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gif"/></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8.gif"/></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notesSlide" Target="../notesSlides/notesSlide2.xml"/></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hyperlink" Target="https://treemaps.intact-project.org/apcdata/openapc/" TargetMode="External"/><Relationship Id="rId2" Type="http://schemas.openxmlformats.org/officeDocument/2006/relationships/hyperlink" Target="http://hdl.handle.net/11858/00-001M-0000-0026-C274-7" TargetMode="External"/><Relationship Id="rId1" Type="http://schemas.openxmlformats.org/officeDocument/2006/relationships/slideLayout" Target="../slideLayouts/slideLayout2.xml"/><Relationship Id="rId6" Type="http://schemas.openxmlformats.org/officeDocument/2006/relationships/image" Target="../media/image17.png"/><Relationship Id="rId5" Type="http://schemas.microsoft.com/office/2007/relationships/hdphoto" Target="../media/hdphoto1.wdp"/><Relationship Id="rId4" Type="http://schemas.openxmlformats.org/officeDocument/2006/relationships/image" Target="../media/image16.png"/></Relationships>
</file>

<file path=ppt/slides/_rels/slide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hyperlink" Target="http://esac-initiative.org/wp-content/uploads/2018/07/esac_apc_workshopIII_outcome_report_final.pdf"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https://www.slideshare.net/HenrikKarlstrm1/expanded-usage-metrics-for-literature-resources-105601917"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4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58.png"/><Relationship Id="rId4" Type="http://schemas.openxmlformats.org/officeDocument/2006/relationships/image" Target="../media/image57.png"/></Relationships>
</file>

<file path=ppt/slides/_rels/slide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46.png"/><Relationship Id="rId7" Type="http://schemas.openxmlformats.org/officeDocument/2006/relationships/image" Target="../media/image67.png"/><Relationship Id="rId2" Type="http://schemas.openxmlformats.org/officeDocument/2006/relationships/image" Target="../media/image63.png"/><Relationship Id="rId1" Type="http://schemas.openxmlformats.org/officeDocument/2006/relationships/slideLayout" Target="../slideLayouts/slideLayout2.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gif"/><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s://oa2020.org/" TargetMode="External"/><Relationship Id="rId2" Type="http://schemas.openxmlformats.org/officeDocument/2006/relationships/hyperlink" Target="mailto:schimmer@mpdl.mpg.de"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emf"/><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Layout" Target="../slideLayouts/slideLayout8.xml"/><Relationship Id="rId4" Type="http://schemas.openxmlformats.org/officeDocument/2006/relationships/tags" Target="../tags/tag28.xml"/></Relationships>
</file>

<file path=ppt/slides/_rels/slide7.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image" Target="../media/image8.gif"/><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notesSlide" Target="../notesSlides/notesSlide4.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slideLayout" Target="../slideLayouts/slideLayout6.xml"/><Relationship Id="rId5" Type="http://schemas.openxmlformats.org/officeDocument/2006/relationships/tags" Target="../tags/tag33.xml"/><Relationship Id="rId15" Type="http://schemas.openxmlformats.org/officeDocument/2006/relationships/image" Target="../media/image10.jpeg"/><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image" Target="../media/image8.gif"/><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notesSlide" Target="../notesSlides/notesSlide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slideLayout" Target="../slideLayouts/slideLayout6.xml"/><Relationship Id="rId5" Type="http://schemas.openxmlformats.org/officeDocument/2006/relationships/tags" Target="../tags/tag43.xml"/><Relationship Id="rId15" Type="http://schemas.openxmlformats.org/officeDocument/2006/relationships/image" Target="../media/image10.jpeg"/><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uppieren 36"/>
          <p:cNvGrpSpPr/>
          <p:nvPr/>
        </p:nvGrpSpPr>
        <p:grpSpPr>
          <a:xfrm>
            <a:off x="1594752" y="-7768073"/>
            <a:ext cx="9906000" cy="12246161"/>
            <a:chOff x="1891144" y="-7768073"/>
            <a:chExt cx="9906000" cy="12246161"/>
          </a:xfrm>
        </p:grpSpPr>
        <p:sp>
          <p:nvSpPr>
            <p:cNvPr id="35" name="Rechteck 34"/>
            <p:cNvSpPr/>
            <p:nvPr/>
          </p:nvSpPr>
          <p:spPr>
            <a:xfrm rot="18873811">
              <a:off x="-555707" y="-3415148"/>
              <a:ext cx="9906000" cy="12001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36" name="Rechteck 35"/>
            <p:cNvSpPr/>
            <p:nvPr/>
          </p:nvSpPr>
          <p:spPr>
            <a:xfrm>
              <a:off x="1891144" y="3277938"/>
              <a:ext cx="9906000" cy="12001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aphicFrame>
        <p:nvGraphicFramePr>
          <p:cNvPr id="9" name="Objekt 8"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142" name="think-cell Folie" r:id="rId5" imgW="341" imgH="340" progId="TCLayout.ActiveDocument.1">
                  <p:embed/>
                </p:oleObj>
              </mc:Choice>
              <mc:Fallback>
                <p:oleObj name="think-cell Folie" r:id="rId5" imgW="341" imgH="34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34" name="Gruppieren 33"/>
          <p:cNvGrpSpPr/>
          <p:nvPr/>
        </p:nvGrpSpPr>
        <p:grpSpPr>
          <a:xfrm>
            <a:off x="-5935652" y="371053"/>
            <a:ext cx="5842359" cy="5862005"/>
            <a:chOff x="-9573468" y="-9691059"/>
            <a:chExt cx="25666318" cy="25627107"/>
          </a:xfrm>
        </p:grpSpPr>
        <p:grpSp>
          <p:nvGrpSpPr>
            <p:cNvPr id="29" name="Gruppieren 28"/>
            <p:cNvGrpSpPr/>
            <p:nvPr/>
          </p:nvGrpSpPr>
          <p:grpSpPr>
            <a:xfrm>
              <a:off x="6186850" y="-7541099"/>
              <a:ext cx="9906000" cy="21029043"/>
              <a:chOff x="6186850" y="-7541099"/>
              <a:chExt cx="9906000" cy="21029043"/>
            </a:xfrm>
          </p:grpSpPr>
          <p:sp>
            <p:nvSpPr>
              <p:cNvPr id="7" name="Rechteck 6"/>
              <p:cNvSpPr/>
              <p:nvPr/>
            </p:nvSpPr>
            <p:spPr>
              <a:xfrm rot="18873811">
                <a:off x="3845559" y="-2746252"/>
                <a:ext cx="9906000" cy="3163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22" name="Rechteck 21"/>
              <p:cNvSpPr/>
              <p:nvPr/>
            </p:nvSpPr>
            <p:spPr>
              <a:xfrm rot="2726189" flipH="1">
                <a:off x="3900284" y="8376791"/>
                <a:ext cx="9906000" cy="3163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23" name="Rechteck 22"/>
              <p:cNvSpPr/>
              <p:nvPr/>
            </p:nvSpPr>
            <p:spPr>
              <a:xfrm flipH="1">
                <a:off x="6186850" y="2765995"/>
                <a:ext cx="9906000" cy="3147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grpSp>
        <p:sp>
          <p:nvSpPr>
            <p:cNvPr id="27" name="Rechteck 26"/>
            <p:cNvSpPr/>
            <p:nvPr/>
          </p:nvSpPr>
          <p:spPr>
            <a:xfrm rot="16200000" flipH="1">
              <a:off x="-1793133" y="-4896218"/>
              <a:ext cx="9905988" cy="31630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28" name="Rechteck 27"/>
            <p:cNvSpPr/>
            <p:nvPr/>
          </p:nvSpPr>
          <p:spPr>
            <a:xfrm rot="16200000" flipH="1">
              <a:off x="-1793129" y="10824898"/>
              <a:ext cx="9905995" cy="31630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grpSp>
          <p:nvGrpSpPr>
            <p:cNvPr id="30" name="Gruppieren 29"/>
            <p:cNvGrpSpPr/>
            <p:nvPr/>
          </p:nvGrpSpPr>
          <p:grpSpPr>
            <a:xfrm flipH="1">
              <a:off x="-9573468" y="-7541099"/>
              <a:ext cx="9906000" cy="21029039"/>
              <a:chOff x="6398272" y="-7639070"/>
              <a:chExt cx="9906000" cy="21029039"/>
            </a:xfrm>
          </p:grpSpPr>
          <p:sp>
            <p:nvSpPr>
              <p:cNvPr id="31" name="Rechteck 30"/>
              <p:cNvSpPr/>
              <p:nvPr/>
            </p:nvSpPr>
            <p:spPr>
              <a:xfrm rot="18873811">
                <a:off x="4168731" y="-2844223"/>
                <a:ext cx="9906000" cy="3163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32" name="Rechteck 31"/>
              <p:cNvSpPr/>
              <p:nvPr/>
            </p:nvSpPr>
            <p:spPr>
              <a:xfrm rot="2726189" flipH="1">
                <a:off x="4223452" y="8278816"/>
                <a:ext cx="9906000" cy="3163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33" name="Rechteck 32"/>
              <p:cNvSpPr/>
              <p:nvPr/>
            </p:nvSpPr>
            <p:spPr>
              <a:xfrm flipH="1">
                <a:off x="6398272" y="2765994"/>
                <a:ext cx="9906000" cy="3147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grpSp>
      </p:grpSp>
      <p:sp>
        <p:nvSpPr>
          <p:cNvPr id="17" name="TextBox 2"/>
          <p:cNvSpPr txBox="1"/>
          <p:nvPr/>
        </p:nvSpPr>
        <p:spPr>
          <a:xfrm>
            <a:off x="1791018" y="6014573"/>
            <a:ext cx="7003448" cy="492443"/>
          </a:xfrm>
          <a:prstGeom prst="rect">
            <a:avLst/>
          </a:prstGeom>
          <a:noFill/>
        </p:spPr>
        <p:txBody>
          <a:bodyPr wrap="square" lIns="0" tIns="0" rIns="0" bIns="0" rtlCol="0">
            <a:spAutoFit/>
          </a:bodyPr>
          <a:lstStyle/>
          <a:p>
            <a:r>
              <a:rPr lang="en-US" sz="1600" b="1" dirty="0" smtClean="0">
                <a:solidFill>
                  <a:schemeClr val="accent2"/>
                </a:solidFill>
              </a:rPr>
              <a:t>Ralf Schimmer</a:t>
            </a:r>
          </a:p>
          <a:p>
            <a:r>
              <a:rPr lang="en-US" sz="1600" dirty="0" smtClean="0">
                <a:solidFill>
                  <a:schemeClr val="accent2"/>
                </a:solidFill>
              </a:rPr>
              <a:t>Open Access 2020 Initiative │ Max Planck Digital Library</a:t>
            </a:r>
          </a:p>
        </p:txBody>
      </p:sp>
      <p:sp>
        <p:nvSpPr>
          <p:cNvPr id="19" name="Untertitel 2"/>
          <p:cNvSpPr txBox="1">
            <a:spLocks/>
          </p:cNvSpPr>
          <p:nvPr/>
        </p:nvSpPr>
        <p:spPr>
          <a:xfrm>
            <a:off x="1791018" y="4993614"/>
            <a:ext cx="7995167" cy="1133644"/>
          </a:xfrm>
          <a:prstGeom prst="rect">
            <a:avLst/>
          </a:prstGeom>
        </p:spPr>
        <p:txBody>
          <a:bodyPr lIns="0" tIns="0" rIns="0" bIns="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de-DE" b="1" dirty="0"/>
              <a:t>OA2020-DE Transformationsworkshop </a:t>
            </a:r>
            <a:r>
              <a:rPr lang="en-US" b="1" dirty="0" smtClean="0">
                <a:solidFill>
                  <a:schemeClr val="accent2"/>
                </a:solidFill>
              </a:rPr>
              <a:t/>
            </a:r>
            <a:br>
              <a:rPr lang="en-US" b="1" dirty="0" smtClean="0">
                <a:solidFill>
                  <a:schemeClr val="accent2"/>
                </a:solidFill>
              </a:rPr>
            </a:br>
            <a:r>
              <a:rPr lang="en-US" dirty="0" smtClean="0">
                <a:solidFill>
                  <a:schemeClr val="accent2"/>
                </a:solidFill>
              </a:rPr>
              <a:t>17 October 2018 </a:t>
            </a:r>
            <a:r>
              <a:rPr lang="x-none" dirty="0" smtClean="0">
                <a:solidFill>
                  <a:schemeClr val="accent2"/>
                </a:solidFill>
              </a:rPr>
              <a:t>–</a:t>
            </a:r>
            <a:r>
              <a:rPr lang="en-US" dirty="0" smtClean="0">
                <a:solidFill>
                  <a:schemeClr val="accent2"/>
                </a:solidFill>
              </a:rPr>
              <a:t> </a:t>
            </a:r>
            <a:r>
              <a:rPr lang="de-DE" dirty="0"/>
              <a:t>Universitätsbibliothek Bielefeld</a:t>
            </a:r>
            <a:endParaRPr lang="en-US" dirty="0">
              <a:solidFill>
                <a:schemeClr val="accent2"/>
              </a:solidFill>
            </a:endParaRPr>
          </a:p>
        </p:txBody>
      </p:sp>
      <p:sp>
        <p:nvSpPr>
          <p:cNvPr id="18" name="Titel 1"/>
          <p:cNvSpPr>
            <a:spLocks noGrp="1"/>
          </p:cNvSpPr>
          <p:nvPr>
            <p:ph type="ctrTitle"/>
          </p:nvPr>
        </p:nvSpPr>
        <p:spPr>
          <a:xfrm>
            <a:off x="1783010" y="3354793"/>
            <a:ext cx="7943273" cy="1046440"/>
          </a:xfrm>
        </p:spPr>
        <p:txBody>
          <a:bodyPr/>
          <a:lstStyle/>
          <a:p>
            <a:r>
              <a:rPr lang="en-US" sz="3400" spc="0" dirty="0" smtClean="0">
                <a:solidFill>
                  <a:schemeClr val="bg1"/>
                </a:solidFill>
              </a:rPr>
              <a:t>OA2020 roadmap for large-scale transformation </a:t>
            </a:r>
            <a:r>
              <a:rPr lang="x-none" sz="3400" spc="0" dirty="0" smtClean="0">
                <a:solidFill>
                  <a:schemeClr val="bg1"/>
                </a:solidFill>
              </a:rPr>
              <a:t>–</a:t>
            </a:r>
            <a:r>
              <a:rPr lang="en-US" sz="3400" spc="0" dirty="0" smtClean="0">
                <a:solidFill>
                  <a:schemeClr val="bg1"/>
                </a:solidFill>
              </a:rPr>
              <a:t> </a:t>
            </a:r>
            <a:r>
              <a:rPr lang="en-US" sz="3400" spc="0" smtClean="0">
                <a:solidFill>
                  <a:schemeClr val="bg1"/>
                </a:solidFill>
              </a:rPr>
              <a:t>international  </a:t>
            </a:r>
            <a:endParaRPr lang="en-GB" sz="3400" spc="0" dirty="0">
              <a:solidFill>
                <a:schemeClr val="bg1"/>
              </a:solidFill>
            </a:endParaRPr>
          </a:p>
        </p:txBody>
      </p:sp>
      <p:pic>
        <p:nvPicPr>
          <p:cNvPr id="20" name="Grafik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66497" y="388420"/>
            <a:ext cx="3269869" cy="1510641"/>
          </a:xfrm>
          <a:prstGeom prst="rect">
            <a:avLst/>
          </a:prstGeom>
        </p:spPr>
      </p:pic>
      <p:sp>
        <p:nvSpPr>
          <p:cNvPr id="21" name="Rechteck 20"/>
          <p:cNvSpPr/>
          <p:nvPr/>
        </p:nvSpPr>
        <p:spPr>
          <a:xfrm>
            <a:off x="8170568" y="6229502"/>
            <a:ext cx="552575" cy="153888"/>
          </a:xfrm>
          <a:prstGeom prst="rect">
            <a:avLst/>
          </a:prstGeom>
        </p:spPr>
        <p:txBody>
          <a:bodyPr wrap="none" lIns="0" tIns="0" rIns="0" bIns="0">
            <a:noAutofit/>
          </a:bodyPr>
          <a:lstStyle/>
          <a:p>
            <a:r>
              <a:rPr lang="de-DE" b="1" i="0" kern="1200" dirty="0" smtClean="0">
                <a:solidFill>
                  <a:schemeClr val="accent2"/>
                </a:solidFill>
              </a:rPr>
              <a:t>@oa2020ini</a:t>
            </a:r>
            <a:endParaRPr lang="de-DE" b="1" i="0" dirty="0">
              <a:solidFill>
                <a:schemeClr val="accent2"/>
              </a:solidFill>
            </a:endParaRPr>
          </a:p>
        </p:txBody>
      </p:sp>
      <p:pic>
        <p:nvPicPr>
          <p:cNvPr id="24" name="Grafik 23"/>
          <p:cNvPicPr>
            <a:picLocks noChangeAspect="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7648933" y="6170340"/>
            <a:ext cx="426099" cy="426099"/>
          </a:xfrm>
          <a:prstGeom prst="rect">
            <a:avLst/>
          </a:prstGeom>
          <a:noFill/>
          <a:ln>
            <a:noFill/>
          </a:ln>
        </p:spPr>
      </p:pic>
    </p:spTree>
    <p:extLst>
      <p:ext uri="{BB962C8B-B14F-4D97-AF65-F5344CB8AC3E}">
        <p14:creationId xmlns:p14="http://schemas.microsoft.com/office/powerpoint/2010/main" val="3564007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decel="100000" fill="hold" nodeType="clickEffect">
                                  <p:stCondLst>
                                    <p:cond delay="0"/>
                                  </p:stCondLst>
                                  <p:childTnLst>
                                    <p:animRot by="16200000">
                                      <p:cBhvr>
                                        <p:cTn id="6" dur="5500" fill="hold"/>
                                        <p:tgtEl>
                                          <p:spTgt spid="34"/>
                                        </p:tgtEl>
                                        <p:attrNameLst>
                                          <p:attrName>r</p:attrName>
                                        </p:attrNameLst>
                                      </p:cBhvr>
                                    </p:animRot>
                                  </p:childTnLst>
                                </p:cTn>
                              </p:par>
                              <p:par>
                                <p:cTn id="7" presetID="42" presetClass="path" presetSubtype="0" accel="50000" decel="50000" fill="hold" nodeType="withEffect">
                                  <p:stCondLst>
                                    <p:cond delay="0"/>
                                  </p:stCondLst>
                                  <p:childTnLst>
                                    <p:animMotion origin="layout" path="M 2.87454E-6 -3.79454E-6 L 0.78288 -0.00509 " pathEditMode="relative" rAng="0" ptsTypes="AA">
                                      <p:cBhvr>
                                        <p:cTn id="8" dur="5500" fill="hold"/>
                                        <p:tgtEl>
                                          <p:spTgt spid="34"/>
                                        </p:tgtEl>
                                        <p:attrNameLst>
                                          <p:attrName>ppt_x</p:attrName>
                                          <p:attrName>ppt_y</p:attrName>
                                        </p:attrNameLst>
                                      </p:cBhvr>
                                      <p:rCtr x="39144" y="-255"/>
                                    </p:animMotion>
                                  </p:childTnLst>
                                </p:cTn>
                              </p:par>
                            </p:childTnLst>
                          </p:cTn>
                        </p:par>
                      </p:childTnLst>
                    </p:cTn>
                  </p:par>
                  <p:par>
                    <p:cTn id="9" fill="hold">
                      <p:stCondLst>
                        <p:cond delay="indefinite"/>
                      </p:stCondLst>
                      <p:childTnLst>
                        <p:par>
                          <p:cTn id="10" fill="hold">
                            <p:stCondLst>
                              <p:cond delay="0"/>
                            </p:stCondLst>
                            <p:childTnLst>
                              <p:par>
                                <p:cTn id="11" presetID="6" presetClass="emph" presetSubtype="0" fill="hold" nodeType="clickEffect">
                                  <p:stCondLst>
                                    <p:cond delay="0"/>
                                  </p:stCondLst>
                                  <p:childTnLst>
                                    <p:animScale>
                                      <p:cBhvr>
                                        <p:cTn id="12" dur="2000" fill="hold"/>
                                        <p:tgtEl>
                                          <p:spTgt spid="34"/>
                                        </p:tgtEl>
                                      </p:cBhvr>
                                      <p:by x="1000000" y="1000000"/>
                                    </p:animScale>
                                  </p:childTnLst>
                                </p:cTn>
                              </p:par>
                              <p:par>
                                <p:cTn id="13" presetID="42" presetClass="path" presetSubtype="0" accel="50000" decel="50000" fill="hold" nodeType="withEffect">
                                  <p:stCondLst>
                                    <p:cond delay="0"/>
                                  </p:stCondLst>
                                  <p:childTnLst>
                                    <p:animMotion origin="layout" path="M 0.78288 -0.00509 L 0.00016 0.04558 " pathEditMode="relative" rAng="0" ptsTypes="AA">
                                      <p:cBhvr>
                                        <p:cTn id="14" dur="2000" fill="hold"/>
                                        <p:tgtEl>
                                          <p:spTgt spid="34"/>
                                        </p:tgtEl>
                                        <p:attrNameLst>
                                          <p:attrName>ppt_x</p:attrName>
                                          <p:attrName>ppt_y</p:attrName>
                                        </p:attrNameLst>
                                      </p:cBhvr>
                                      <p:rCtr x="-39144" y="2522"/>
                                    </p:animMotion>
                                  </p:childTnLst>
                                </p:cTn>
                              </p:par>
                              <p:par>
                                <p:cTn id="15" presetID="10" presetClass="exit" presetSubtype="0" fill="hold" nodeType="withEffect">
                                  <p:stCondLst>
                                    <p:cond delay="1200"/>
                                  </p:stCondLst>
                                  <p:childTnLst>
                                    <p:animEffect transition="out" filter="fade">
                                      <p:cBhvr>
                                        <p:cTn id="16" dur="500"/>
                                        <p:tgtEl>
                                          <p:spTgt spid="34"/>
                                        </p:tgtEl>
                                      </p:cBhvr>
                                    </p:animEffect>
                                    <p:set>
                                      <p:cBhvr>
                                        <p:cTn id="17" dur="1" fill="hold">
                                          <p:stCondLst>
                                            <p:cond delay="499"/>
                                          </p:stCondLst>
                                        </p:cTn>
                                        <p:tgtEl>
                                          <p:spTgt spid="34"/>
                                        </p:tgtEl>
                                        <p:attrNameLst>
                                          <p:attrName>style.visibility</p:attrName>
                                        </p:attrNameLst>
                                      </p:cBhvr>
                                      <p:to>
                                        <p:strVal val="hidden"/>
                                      </p:to>
                                    </p:set>
                                  </p:childTnLst>
                                </p:cTn>
                              </p:par>
                              <p:par>
                                <p:cTn id="18" presetID="10" presetClass="entr" presetSubtype="0" fill="hold" nodeType="withEffect">
                                  <p:stCondLst>
                                    <p:cond delay="1400"/>
                                  </p:stCondLst>
                                  <p:childTnLst>
                                    <p:set>
                                      <p:cBhvr>
                                        <p:cTn id="19" dur="1" fill="hold">
                                          <p:stCondLst>
                                            <p:cond delay="0"/>
                                          </p:stCondLst>
                                        </p:cTn>
                                        <p:tgtEl>
                                          <p:spTgt spid="37"/>
                                        </p:tgtEl>
                                        <p:attrNameLst>
                                          <p:attrName>style.visibility</p:attrName>
                                        </p:attrNameLst>
                                      </p:cBhvr>
                                      <p:to>
                                        <p:strVal val="visible"/>
                                      </p:to>
                                    </p:set>
                                    <p:animEffect transition="in" filter="fade">
                                      <p:cBhvr>
                                        <p:cTn id="20" dur="500"/>
                                        <p:tgtEl>
                                          <p:spTgt spid="37"/>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par>
                                <p:cTn id="34" presetID="10" presetClass="entr" presetSubtype="0" fill="hold" nodeType="with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500"/>
                                        <p:tgtEl>
                                          <p:spTgt spid="2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P spid="18" grpId="0"/>
      <p:bldP spid="21"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a:xfrm>
            <a:off x="0" y="0"/>
            <a:ext cx="990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14" name="Inhaltsplatzhalter 6"/>
          <p:cNvSpPr txBox="1">
            <a:spLocks/>
          </p:cNvSpPr>
          <p:nvPr>
            <p:custDataLst>
              <p:tags r:id="rId2"/>
            </p:custDataLst>
          </p:nvPr>
        </p:nvSpPr>
        <p:spPr>
          <a:xfrm>
            <a:off x="0" y="3181350"/>
            <a:ext cx="9906000" cy="495300"/>
          </a:xfrm>
          <a:prstGeom prst="rect">
            <a:avLst/>
          </a:prstGeom>
        </p:spPr>
        <p:txBody>
          <a:bodyPr vert="horz" wrap="square" lIns="0" tIns="0" rIns="0" bIns="0" rtlCol="0">
            <a:normAutofit/>
          </a:bodyPr>
          <a:lstStyle>
            <a:lvl1pPr marL="0" indent="0" algn="l" defTabSz="914400" rtl="0" eaLnBrk="1" latinLnBrk="0" hangingPunct="1">
              <a:lnSpc>
                <a:spcPts val="3600"/>
              </a:lnSpc>
              <a:spcBef>
                <a:spcPts val="200"/>
              </a:spcBef>
              <a:buClr>
                <a:schemeClr val="tx2"/>
              </a:buClr>
              <a:buFont typeface="Wingdings" pitchFamily="2" charset="2"/>
              <a:buNone/>
              <a:defRPr sz="2000" kern="1200">
                <a:solidFill>
                  <a:schemeClr val="tx2"/>
                </a:solidFill>
                <a:latin typeface="+mn-lt"/>
                <a:ea typeface="+mn-ea"/>
                <a:cs typeface="+mn-cs"/>
              </a:defRPr>
            </a:lvl1pPr>
            <a:lvl2pPr marL="180975" indent="-180975" algn="l" defTabSz="914400" rtl="0" eaLnBrk="1" latinLnBrk="0" hangingPunct="1">
              <a:lnSpc>
                <a:spcPts val="3600"/>
              </a:lnSpc>
              <a:spcBef>
                <a:spcPts val="200"/>
              </a:spcBef>
              <a:buClr>
                <a:schemeClr val="tx2"/>
              </a:buClr>
              <a:buFont typeface="Wingdings" pitchFamily="2" charset="2"/>
              <a:buChar char="§"/>
              <a:defRPr sz="2000" kern="1200">
                <a:solidFill>
                  <a:schemeClr val="tx2"/>
                </a:solidFill>
                <a:latin typeface="+mn-lt"/>
                <a:ea typeface="+mn-ea"/>
                <a:cs typeface="+mn-cs"/>
              </a:defRPr>
            </a:lvl2pPr>
            <a:lvl3pPr marL="355600" indent="-174625" algn="l" defTabSz="914400" rtl="0" eaLnBrk="1" latinLnBrk="0" hangingPunct="1">
              <a:lnSpc>
                <a:spcPts val="3600"/>
              </a:lnSpc>
              <a:spcBef>
                <a:spcPts val="200"/>
              </a:spcBef>
              <a:buClr>
                <a:schemeClr val="tx2"/>
              </a:buClr>
              <a:buFont typeface="Arial" pitchFamily="34" charset="0"/>
              <a:buChar char="–"/>
              <a:defRPr sz="2000" kern="1200">
                <a:solidFill>
                  <a:schemeClr val="tx2"/>
                </a:solidFill>
                <a:latin typeface="+mn-lt"/>
                <a:ea typeface="+mn-ea"/>
                <a:cs typeface="+mn-cs"/>
              </a:defRPr>
            </a:lvl3pPr>
            <a:lvl4pPr marL="538163" indent="-182563" algn="l" defTabSz="914400" rtl="0" eaLnBrk="1" latinLnBrk="0" hangingPunct="1">
              <a:lnSpc>
                <a:spcPts val="3600"/>
              </a:lnSpc>
              <a:spcBef>
                <a:spcPts val="200"/>
              </a:spcBef>
              <a:buClr>
                <a:schemeClr val="tx2"/>
              </a:buClr>
              <a:buFont typeface="Arial" pitchFamily="34" charset="0"/>
              <a:buChar char="•"/>
              <a:defRPr sz="2000" kern="1200">
                <a:solidFill>
                  <a:schemeClr val="tx2"/>
                </a:solidFill>
                <a:latin typeface="+mn-lt"/>
                <a:ea typeface="+mn-ea"/>
                <a:cs typeface="+mn-cs"/>
              </a:defRPr>
            </a:lvl4pPr>
            <a:lvl5pPr marL="719138" indent="-180975" algn="l" defTabSz="914400" rtl="0" eaLnBrk="1" latinLnBrk="0" hangingPunct="1">
              <a:lnSpc>
                <a:spcPts val="3600"/>
              </a:lnSpc>
              <a:spcBef>
                <a:spcPts val="200"/>
              </a:spcBef>
              <a:buClr>
                <a:schemeClr val="tx2"/>
              </a:buClr>
              <a:buFont typeface="Symbol" pitchFamily="18" charset="2"/>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Clr>
                <a:srgbClr val="606060"/>
              </a:buClr>
              <a:buFont typeface="Wingdings" pitchFamily="2" charset="2"/>
              <a:buNone/>
            </a:pPr>
            <a:r>
              <a:rPr lang="de-DE" sz="2800" b="1" dirty="0" smtClean="0">
                <a:solidFill>
                  <a:srgbClr val="F29A00"/>
                </a:solidFill>
              </a:rPr>
              <a:t>3. Stärkerer Hebel durch einen neuen Ansatz</a:t>
            </a:r>
            <a:endParaRPr lang="de-DE" sz="2800" b="1" dirty="0">
              <a:solidFill>
                <a:srgbClr val="F29A00"/>
              </a:solidFill>
            </a:endParaRPr>
          </a:p>
        </p:txBody>
      </p:sp>
      <p:grpSp>
        <p:nvGrpSpPr>
          <p:cNvPr id="18" name="Gruppieren 17"/>
          <p:cNvGrpSpPr/>
          <p:nvPr/>
        </p:nvGrpSpPr>
        <p:grpSpPr>
          <a:xfrm>
            <a:off x="0" y="3028950"/>
            <a:ext cx="9906000" cy="704850"/>
            <a:chOff x="0" y="1600200"/>
            <a:chExt cx="9906000" cy="495300"/>
          </a:xfrm>
        </p:grpSpPr>
        <p:cxnSp>
          <p:nvCxnSpPr>
            <p:cNvPr id="19" name="Gerade Verbindung 18"/>
            <p:cNvCxnSpPr/>
            <p:nvPr/>
          </p:nvCxnSpPr>
          <p:spPr>
            <a:xfrm>
              <a:off x="0" y="1600200"/>
              <a:ext cx="990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0" y="2095500"/>
              <a:ext cx="990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aphicFrame>
        <p:nvGraphicFramePr>
          <p:cNvPr id="11" name="Objekt 10" hidden="1"/>
          <p:cNvGraphicFramePr>
            <a:graphicFrameLocks/>
          </p:cNvGraphicFramePr>
          <p:nvPr>
            <p:custDataLst>
              <p:tags r:id="rId3"/>
            </p:custDataLst>
            <p:extLst>
              <p:ext uri="{D42A27DB-BD31-4B8C-83A1-F6EECF244321}">
                <p14:modId xmlns:p14="http://schemas.microsoft.com/office/powerpoint/2010/main" val="15595106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32" name="think-cell Slide" r:id="rId6" imgW="341" imgH="341" progId="TCLayout.ActiveDocument.1">
                  <p:embed/>
                </p:oleObj>
              </mc:Choice>
              <mc:Fallback>
                <p:oleObj name="think-cell Slide" r:id="rId6" imgW="341" imgH="341"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Foliennummernplatzhalter 4"/>
          <p:cNvSpPr>
            <a:spLocks noGrp="1"/>
          </p:cNvSpPr>
          <p:nvPr>
            <p:ph type="sldNum" sz="quarter" idx="12"/>
            <p:custDataLst>
              <p:tags r:id="rId4"/>
            </p:custDataLst>
          </p:nvPr>
        </p:nvSpPr>
        <p:spPr/>
        <p:txBody>
          <a:bodyPr/>
          <a:lstStyle/>
          <a:p>
            <a:fld id="{4AD1E780-DE1C-4ECA-B5E5-863D0BC53287}" type="slidenum">
              <a:rPr lang="de-DE" smtClean="0">
                <a:solidFill>
                  <a:prstClr val="black">
                    <a:tint val="75000"/>
                  </a:prstClr>
                </a:solidFill>
              </a:rPr>
              <a:pPr/>
              <a:t>9</a:t>
            </a:fld>
            <a:endParaRPr lang="de-DE">
              <a:solidFill>
                <a:prstClr val="black">
                  <a:tint val="75000"/>
                </a:prstClr>
              </a:solidFill>
            </a:endParaRPr>
          </a:p>
        </p:txBody>
      </p:sp>
    </p:spTree>
    <p:extLst>
      <p:ext uri="{BB962C8B-B14F-4D97-AF65-F5344CB8AC3E}">
        <p14:creationId xmlns:p14="http://schemas.microsoft.com/office/powerpoint/2010/main" val="2485845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AD1E780-DE1C-4ECA-B5E5-863D0BC53287}" type="slidenum">
              <a:rPr lang="de-DE" smtClean="0">
                <a:solidFill>
                  <a:prstClr val="black">
                    <a:tint val="75000"/>
                  </a:prstClr>
                </a:solidFill>
              </a:rPr>
              <a:pPr/>
              <a:t>10</a:t>
            </a:fld>
            <a:endParaRPr lang="de-DE" dirty="0">
              <a:solidFill>
                <a:prstClr val="black">
                  <a:tint val="75000"/>
                </a:prstClr>
              </a:solidFill>
            </a:endParaRPr>
          </a:p>
        </p:txBody>
      </p:sp>
      <p:sp>
        <p:nvSpPr>
          <p:cNvPr id="6" name="Text Placeholder 5"/>
          <p:cNvSpPr>
            <a:spLocks noGrp="1"/>
          </p:cNvSpPr>
          <p:nvPr>
            <p:ph type="body" sz="quarter" idx="13"/>
          </p:nvPr>
        </p:nvSpPr>
        <p:spPr/>
        <p:txBody>
          <a:bodyPr/>
          <a:lstStyle/>
          <a:p>
            <a:r>
              <a:rPr lang="de-DE" dirty="0" smtClean="0"/>
              <a:t>Die Macht unserer Erwerbungsentscheidungen</a:t>
            </a:r>
            <a:endParaRPr lang="de-DE" dirty="0"/>
          </a:p>
        </p:txBody>
      </p:sp>
      <p:sp>
        <p:nvSpPr>
          <p:cNvPr id="9" name="Inhaltsplatzhalter 2"/>
          <p:cNvSpPr txBox="1">
            <a:spLocks/>
          </p:cNvSpPr>
          <p:nvPr>
            <p:custDataLst>
              <p:tags r:id="rId1"/>
            </p:custDataLst>
          </p:nvPr>
        </p:nvSpPr>
        <p:spPr>
          <a:xfrm>
            <a:off x="992385" y="4187331"/>
            <a:ext cx="8574696" cy="2128788"/>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400" dirty="0" smtClean="0">
                <a:solidFill>
                  <a:srgbClr val="7F7F7F"/>
                </a:solidFill>
              </a:rPr>
              <a:t>Wenn wir unsere Macht als Autoren und in der Erwerbung nutzen, können wir den </a:t>
            </a:r>
            <a:r>
              <a:rPr lang="de-DE" sz="2400" b="1" dirty="0" smtClean="0">
                <a:solidFill>
                  <a:srgbClr val="7F7F7F"/>
                </a:solidFill>
              </a:rPr>
              <a:t>entscheidenden Systemwechsel </a:t>
            </a:r>
            <a:r>
              <a:rPr lang="de-DE" sz="2400" dirty="0" smtClean="0">
                <a:solidFill>
                  <a:srgbClr val="7F7F7F"/>
                </a:solidFill>
              </a:rPr>
              <a:t>herbeiführen und sicherstellen, dass</a:t>
            </a:r>
          </a:p>
          <a:p>
            <a:pPr marL="447675" lvl="1" indent="-447675">
              <a:lnSpc>
                <a:spcPct val="150000"/>
              </a:lnSpc>
              <a:buClr>
                <a:srgbClr val="DB3F16"/>
              </a:buClr>
            </a:pPr>
            <a:r>
              <a:rPr lang="de-DE" sz="2400" dirty="0" smtClean="0">
                <a:solidFill>
                  <a:srgbClr val="7F7F7F"/>
                </a:solidFill>
              </a:rPr>
              <a:t>Forschungsergebnisse frei zugänglich &amp; nachnutzbar sind</a:t>
            </a:r>
          </a:p>
          <a:p>
            <a:pPr marL="447675" lvl="1" indent="-447675">
              <a:buClr>
                <a:srgbClr val="DB3F16"/>
              </a:buClr>
            </a:pPr>
            <a:r>
              <a:rPr lang="de-DE" sz="2400" dirty="0" smtClean="0">
                <a:solidFill>
                  <a:srgbClr val="7F7F7F"/>
                </a:solidFill>
              </a:rPr>
              <a:t>die Kosten transparent und nachhaltig sind</a:t>
            </a:r>
            <a:endParaRPr lang="de-DE" sz="2400" dirty="0">
              <a:solidFill>
                <a:srgbClr val="7F7F7F"/>
              </a:solidFill>
            </a:endParaRPr>
          </a:p>
        </p:txBody>
      </p:sp>
      <p:sp>
        <p:nvSpPr>
          <p:cNvPr id="11" name="Inhaltsplatzhalter 2"/>
          <p:cNvSpPr txBox="1">
            <a:spLocks/>
          </p:cNvSpPr>
          <p:nvPr>
            <p:custDataLst>
              <p:tags r:id="rId2"/>
            </p:custDataLst>
          </p:nvPr>
        </p:nvSpPr>
        <p:spPr>
          <a:xfrm>
            <a:off x="992385" y="1603193"/>
            <a:ext cx="8344120" cy="2128788"/>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400" dirty="0" smtClean="0">
                <a:solidFill>
                  <a:srgbClr val="7F7F7F"/>
                </a:solidFill>
              </a:rPr>
              <a:t>Die Finanzdaten</a:t>
            </a:r>
            <a:r>
              <a:rPr lang="de-DE" sz="2400" dirty="0" smtClean="0">
                <a:solidFill>
                  <a:srgbClr val="DB3F16"/>
                </a:solidFill>
              </a:rPr>
              <a:t>*</a:t>
            </a:r>
            <a:r>
              <a:rPr lang="de-DE" sz="2400" dirty="0" smtClean="0">
                <a:solidFill>
                  <a:srgbClr val="7F7F7F"/>
                </a:solidFill>
              </a:rPr>
              <a:t> hinter dem System der wissenschaftlichen Kommunikation zeigen</a:t>
            </a:r>
          </a:p>
          <a:p>
            <a:pPr marL="447675" lvl="1" indent="-447675">
              <a:lnSpc>
                <a:spcPct val="150000"/>
              </a:lnSpc>
              <a:buClr>
                <a:srgbClr val="DB3F16"/>
              </a:buClr>
            </a:pPr>
            <a:r>
              <a:rPr lang="de-DE" sz="2400" b="1" dirty="0" smtClean="0">
                <a:solidFill>
                  <a:srgbClr val="7F7F7F"/>
                </a:solidFill>
              </a:rPr>
              <a:t>dass bereits mehr als genug Geld im System ist</a:t>
            </a:r>
          </a:p>
          <a:p>
            <a:pPr marL="447675" lvl="1" indent="-447675">
              <a:buClr>
                <a:srgbClr val="DB3F16"/>
              </a:buClr>
            </a:pPr>
            <a:r>
              <a:rPr lang="de-DE" sz="2400" dirty="0" smtClean="0">
                <a:solidFill>
                  <a:srgbClr val="7F7F7F"/>
                </a:solidFill>
              </a:rPr>
              <a:t>Durch das Subskriptionssystem werden rund </a:t>
            </a:r>
            <a:r>
              <a:rPr lang="de-DE" sz="2400" b="1" dirty="0" smtClean="0">
                <a:solidFill>
                  <a:srgbClr val="7F7F7F"/>
                </a:solidFill>
              </a:rPr>
              <a:t>5.000$ für jeden wissenschaftlichen Zeitschriftenartikel</a:t>
            </a:r>
            <a:r>
              <a:rPr lang="de-DE" sz="2400" dirty="0" smtClean="0">
                <a:solidFill>
                  <a:srgbClr val="7F7F7F"/>
                </a:solidFill>
              </a:rPr>
              <a:t> bezahlt</a:t>
            </a:r>
            <a:endParaRPr lang="de-DE" sz="2400" dirty="0">
              <a:solidFill>
                <a:srgbClr val="7F7F7F"/>
              </a:solidFill>
            </a:endParaRPr>
          </a:p>
        </p:txBody>
      </p:sp>
      <p:cxnSp>
        <p:nvCxnSpPr>
          <p:cNvPr id="12" name="Gerade Verbindung 14"/>
          <p:cNvCxnSpPr/>
          <p:nvPr/>
        </p:nvCxnSpPr>
        <p:spPr>
          <a:xfrm rot="5400000" flipH="1">
            <a:off x="1120321" y="884288"/>
            <a:ext cx="0" cy="122605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Gerade Verbindung 14"/>
          <p:cNvCxnSpPr/>
          <p:nvPr/>
        </p:nvCxnSpPr>
        <p:spPr>
          <a:xfrm rot="5400000" flipH="1">
            <a:off x="1272720" y="3465924"/>
            <a:ext cx="0" cy="122605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6587073" y="3759322"/>
            <a:ext cx="5133860" cy="307777"/>
          </a:xfrm>
          <a:prstGeom prst="rect">
            <a:avLst/>
          </a:prstGeom>
          <a:noFill/>
        </p:spPr>
        <p:txBody>
          <a:bodyPr wrap="square" rtlCol="0">
            <a:spAutoFit/>
          </a:bodyPr>
          <a:lstStyle/>
          <a:p>
            <a:r>
              <a:rPr lang="de-DE" sz="1400" i="1" dirty="0" smtClean="0">
                <a:solidFill>
                  <a:srgbClr val="7F7F7F"/>
                </a:solidFill>
                <a:hlinkClick r:id="rId5"/>
              </a:rPr>
              <a:t>*2015 MPDL White Paper</a:t>
            </a:r>
            <a:endParaRPr lang="de-DE" sz="1400" dirty="0">
              <a:solidFill>
                <a:prstClr val="black"/>
              </a:solidFill>
            </a:endParaRPr>
          </a:p>
        </p:txBody>
      </p:sp>
    </p:spTree>
    <p:extLst>
      <p:ext uri="{BB962C8B-B14F-4D97-AF65-F5344CB8AC3E}">
        <p14:creationId xmlns:p14="http://schemas.microsoft.com/office/powerpoint/2010/main" val="16058468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extplatzhalter 75"/>
          <p:cNvSpPr>
            <a:spLocks noGrp="1"/>
          </p:cNvSpPr>
          <p:nvPr>
            <p:ph type="body" sz="quarter" idx="13"/>
          </p:nvPr>
        </p:nvSpPr>
        <p:spPr>
          <a:xfrm>
            <a:off x="302342" y="426278"/>
            <a:ext cx="7175090" cy="697671"/>
          </a:xfrm>
        </p:spPr>
        <p:txBody>
          <a:bodyPr/>
          <a:lstStyle/>
          <a:p>
            <a:r>
              <a:rPr lang="de-DE" dirty="0" smtClean="0"/>
              <a:t>Die finanzielle Machbarkeit der Transformation</a:t>
            </a:r>
            <a:endParaRPr lang="de-DE" dirty="0"/>
          </a:p>
        </p:txBody>
      </p:sp>
      <p:sp>
        <p:nvSpPr>
          <p:cNvPr id="8" name="Foliennummernplatzhalter 4"/>
          <p:cNvSpPr>
            <a:spLocks noGrp="1"/>
          </p:cNvSpPr>
          <p:nvPr>
            <p:ph type="sldNum" sz="quarter" idx="12"/>
          </p:nvPr>
        </p:nvSpPr>
        <p:spPr>
          <a:xfrm>
            <a:off x="8931442" y="6659477"/>
            <a:ext cx="773912" cy="167164"/>
          </a:xfrm>
        </p:spPr>
        <p:txBody>
          <a:bodyPr/>
          <a:lstStyle/>
          <a:p>
            <a:fld id="{4AD1E780-DE1C-4ECA-B5E5-863D0BC53287}" type="slidenum">
              <a:rPr lang="de-DE" smtClean="0">
                <a:solidFill>
                  <a:prstClr val="black">
                    <a:tint val="75000"/>
                  </a:prstClr>
                </a:solidFill>
              </a:rPr>
              <a:pPr/>
              <a:t>11</a:t>
            </a:fld>
            <a:endParaRPr lang="de-DE" dirty="0">
              <a:solidFill>
                <a:prstClr val="black">
                  <a:tint val="75000"/>
                </a:prstClr>
              </a:solidFill>
            </a:endParaRP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900" y="1385352"/>
            <a:ext cx="8298180" cy="5069549"/>
          </a:xfrm>
          <a:prstGeom prst="rect">
            <a:avLst/>
          </a:prstGeom>
        </p:spPr>
      </p:pic>
    </p:spTree>
    <p:extLst>
      <p:ext uri="{BB962C8B-B14F-4D97-AF65-F5344CB8AC3E}">
        <p14:creationId xmlns:p14="http://schemas.microsoft.com/office/powerpoint/2010/main" val="7793649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extplatzhalter 75"/>
          <p:cNvSpPr>
            <a:spLocks noGrp="1"/>
          </p:cNvSpPr>
          <p:nvPr>
            <p:ph type="body" sz="quarter" idx="13"/>
          </p:nvPr>
        </p:nvSpPr>
        <p:spPr/>
        <p:txBody>
          <a:bodyPr/>
          <a:lstStyle/>
          <a:p>
            <a:r>
              <a:rPr lang="de-DE" dirty="0" smtClean="0"/>
              <a:t>Ein neuer Ansatz, um OA zum Standard zu machen</a:t>
            </a:r>
            <a:endParaRPr lang="de-DE" dirty="0"/>
          </a:p>
        </p:txBody>
      </p:sp>
      <p:sp>
        <p:nvSpPr>
          <p:cNvPr id="3" name="Rechteck 2"/>
          <p:cNvSpPr/>
          <p:nvPr/>
        </p:nvSpPr>
        <p:spPr>
          <a:xfrm>
            <a:off x="1449716" y="3576807"/>
            <a:ext cx="7361191" cy="728341"/>
          </a:xfrm>
          <a:prstGeom prst="rect">
            <a:avLst/>
          </a:prstGeom>
        </p:spPr>
        <p:txBody>
          <a:bodyPr wrap="square" lIns="0" tIns="0" rIns="0" bIns="0">
            <a:spAutoFit/>
          </a:bodyPr>
          <a:lstStyle/>
          <a:p>
            <a:pPr>
              <a:lnSpc>
                <a:spcPct val="150000"/>
              </a:lnSpc>
            </a:pPr>
            <a:r>
              <a:rPr lang="de-DE" sz="3600" i="1" spc="600" dirty="0" smtClean="0">
                <a:solidFill>
                  <a:srgbClr val="DB3F16"/>
                </a:solidFill>
              </a:rPr>
              <a:t>Mandat für unser Geld</a:t>
            </a:r>
            <a:endParaRPr lang="de-DE" sz="2400" i="1" spc="600" dirty="0" smtClean="0">
              <a:solidFill>
                <a:srgbClr val="DB3F16"/>
              </a:solidFill>
            </a:endParaRPr>
          </a:p>
        </p:txBody>
      </p:sp>
      <p:cxnSp>
        <p:nvCxnSpPr>
          <p:cNvPr id="14" name="Gerade Verbindung 13"/>
          <p:cNvCxnSpPr/>
          <p:nvPr/>
        </p:nvCxnSpPr>
        <p:spPr>
          <a:xfrm rot="10800000" flipH="1">
            <a:off x="7578181" y="2537119"/>
            <a:ext cx="0" cy="122605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rot="5400000" flipH="1">
            <a:off x="8520502" y="3433871"/>
            <a:ext cx="0" cy="122605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rot="5400000">
            <a:off x="7904322" y="2918337"/>
            <a:ext cx="854294" cy="847988"/>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rot="16200000" flipV="1">
            <a:off x="7904322" y="4408754"/>
            <a:ext cx="854294" cy="847988"/>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rot="10800000" flipH="1" flipV="1">
            <a:off x="7593188" y="4405600"/>
            <a:ext cx="0" cy="122605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Rechteck 18"/>
          <p:cNvSpPr/>
          <p:nvPr/>
        </p:nvSpPr>
        <p:spPr>
          <a:xfrm>
            <a:off x="276850" y="1476128"/>
            <a:ext cx="9629149" cy="485518"/>
          </a:xfrm>
          <a:prstGeom prst="rect">
            <a:avLst/>
          </a:prstGeom>
        </p:spPr>
        <p:txBody>
          <a:bodyPr wrap="square" lIns="0" tIns="0" rIns="0" bIns="0">
            <a:spAutoFit/>
          </a:bodyPr>
          <a:lstStyle/>
          <a:p>
            <a:pPr>
              <a:lnSpc>
                <a:spcPct val="150000"/>
              </a:lnSpc>
            </a:pPr>
            <a:r>
              <a:rPr lang="de-DE" sz="2400" dirty="0" smtClean="0">
                <a:solidFill>
                  <a:srgbClr val="F29A00"/>
                </a:solidFill>
              </a:rPr>
              <a:t>Wir brauchen keine weiteren Mandate für unsere Wissenschaftler</a:t>
            </a:r>
            <a:endParaRPr lang="de-DE" sz="2400" i="1" dirty="0" smtClean="0">
              <a:solidFill>
                <a:srgbClr val="F29A00"/>
              </a:solidFill>
            </a:endParaRPr>
          </a:p>
        </p:txBody>
      </p:sp>
      <p:sp>
        <p:nvSpPr>
          <p:cNvPr id="20" name="Rechteck 19"/>
          <p:cNvSpPr/>
          <p:nvPr/>
        </p:nvSpPr>
        <p:spPr>
          <a:xfrm>
            <a:off x="811040" y="3177852"/>
            <a:ext cx="7794400" cy="485518"/>
          </a:xfrm>
          <a:prstGeom prst="rect">
            <a:avLst/>
          </a:prstGeom>
        </p:spPr>
        <p:txBody>
          <a:bodyPr wrap="square" lIns="0" tIns="0" rIns="0" bIns="0">
            <a:spAutoFit/>
          </a:bodyPr>
          <a:lstStyle/>
          <a:p>
            <a:pPr>
              <a:lnSpc>
                <a:spcPct val="150000"/>
              </a:lnSpc>
            </a:pPr>
            <a:r>
              <a:rPr lang="de-DE" sz="2400" b="1" spc="600" dirty="0" smtClean="0">
                <a:solidFill>
                  <a:srgbClr val="7F7F7F"/>
                </a:solidFill>
              </a:rPr>
              <a:t>wir brauchen ein</a:t>
            </a:r>
            <a:endParaRPr lang="de-DE" sz="2400" b="1" i="1" spc="600" dirty="0" smtClean="0">
              <a:solidFill>
                <a:srgbClr val="7F7F7F"/>
              </a:solidFill>
            </a:endParaRPr>
          </a:p>
        </p:txBody>
      </p:sp>
      <p:sp>
        <p:nvSpPr>
          <p:cNvPr id="28" name="Foliennummernplatzhalter 4"/>
          <p:cNvSpPr>
            <a:spLocks noGrp="1"/>
          </p:cNvSpPr>
          <p:nvPr>
            <p:ph type="sldNum" sz="quarter" idx="12"/>
          </p:nvPr>
        </p:nvSpPr>
        <p:spPr>
          <a:xfrm>
            <a:off x="8931442" y="6659477"/>
            <a:ext cx="773912" cy="167164"/>
          </a:xfrm>
        </p:spPr>
        <p:txBody>
          <a:bodyPr/>
          <a:lstStyle/>
          <a:p>
            <a:fld id="{4AD1E780-DE1C-4ECA-B5E5-863D0BC53287}" type="slidenum">
              <a:rPr lang="de-DE" smtClean="0">
                <a:solidFill>
                  <a:prstClr val="black">
                    <a:tint val="75000"/>
                  </a:prstClr>
                </a:solidFill>
              </a:rPr>
              <a:pPr/>
              <a:t>12</a:t>
            </a:fld>
            <a:endParaRPr lang="de-DE" dirty="0">
              <a:solidFill>
                <a:prstClr val="black">
                  <a:tint val="75000"/>
                </a:prstClr>
              </a:solidFill>
            </a:endParaRPr>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3577" y="3930783"/>
            <a:ext cx="1378762" cy="730185"/>
          </a:xfrm>
          <a:prstGeom prst="rect">
            <a:avLst/>
          </a:prstGeom>
          <a:effectLst>
            <a:outerShdw blurRad="50800" dist="38100" dir="2700000" algn="tl" rotWithShape="0">
              <a:prstClr val="black">
                <a:alpha val="40000"/>
              </a:prstClr>
            </a:outerShdw>
          </a:effectLst>
        </p:spPr>
      </p:pic>
      <p:pic>
        <p:nvPicPr>
          <p:cNvPr id="5" name="Grafi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1072779">
            <a:off x="4018859" y="4001536"/>
            <a:ext cx="1378762" cy="73018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60381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6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nodeType="withEffect">
                                  <p:stCondLst>
                                    <p:cond delay="130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nodeType="withEffect">
                                  <p:stCondLst>
                                    <p:cond delay="190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250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par>
                          <p:cTn id="20" fill="hold">
                            <p:stCondLst>
                              <p:cond delay="3000"/>
                            </p:stCondLst>
                            <p:childTnLst>
                              <p:par>
                                <p:cTn id="21" presetID="10" presetClass="entr" presetSubtype="0" fill="hold" nodeType="afterEffect">
                                  <p:stCondLst>
                                    <p:cond delay="60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400"/>
                                        <p:tgtEl>
                                          <p:spTgt spid="5"/>
                                        </p:tgtEl>
                                      </p:cBhvr>
                                    </p:animEffect>
                                  </p:childTnLst>
                                </p:cTn>
                              </p:par>
                              <p:par>
                                <p:cTn id="24" presetID="10" presetClass="entr" presetSubtype="0" fill="hold" nodeType="withEffect">
                                  <p:stCondLst>
                                    <p:cond delay="20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600"/>
                                        <p:tgtEl>
                                          <p:spTgt spid="6"/>
                                        </p:tgtEl>
                                      </p:cBhvr>
                                    </p:animEffect>
                                  </p:childTnLst>
                                </p:cTn>
                              </p:par>
                              <p:par>
                                <p:cTn id="27" presetID="0" presetClass="path" presetSubtype="0" accel="50000" decel="50000" fill="hold" nodeType="withEffect">
                                  <p:stCondLst>
                                    <p:cond delay="500"/>
                                  </p:stCondLst>
                                  <p:childTnLst>
                                    <p:animMotion origin="layout" path="M 3.4049E-6 -3.58002E-6 C 0.02179 0.01966 0.00432 0.05574 0.06088 0.09552 C 0.09806 0.11749 0.14565 0.11402 0.15302 0.11402 " pathEditMode="relative" rAng="0" ptsTypes="fff">
                                      <p:cBhvr>
                                        <p:cTn id="28" dur="800" fill="hold"/>
                                        <p:tgtEl>
                                          <p:spTgt spid="5"/>
                                        </p:tgtEl>
                                        <p:attrNameLst>
                                          <p:attrName>ppt_x</p:attrName>
                                          <p:attrName>ppt_y</p:attrName>
                                        </p:attrNameLst>
                                      </p:cBhvr>
                                      <p:rCtr x="7643" y="5874"/>
                                    </p:animMotion>
                                  </p:childTnLst>
                                </p:cTn>
                              </p:par>
                              <p:par>
                                <p:cTn id="29" presetID="0" presetClass="path" presetSubtype="0" accel="50000" decel="50000" fill="hold" nodeType="withEffect">
                                  <p:stCondLst>
                                    <p:cond delay="0"/>
                                  </p:stCondLst>
                                  <p:childTnLst>
                                    <p:animMotion origin="layout" path="M 9.59782E-7 3.45051E-6 C 0.00561 0.00023 0.00769 0.0444 0.03381 0.07215 C 0.0697 0.10407 0.1003 0.09227 0.11697 0.11008 " pathEditMode="relative" rAng="0" ptsTypes="fff">
                                      <p:cBhvr>
                                        <p:cTn id="30" dur="1200" fill="hold"/>
                                        <p:tgtEl>
                                          <p:spTgt spid="6"/>
                                        </p:tgtEl>
                                        <p:attrNameLst>
                                          <p:attrName>ppt_x</p:attrName>
                                          <p:attrName>ppt_y</p:attrName>
                                        </p:attrNameLst>
                                      </p:cBhvr>
                                      <p:rCtr x="5848" y="550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hteck 47"/>
          <p:cNvSpPr/>
          <p:nvPr/>
        </p:nvSpPr>
        <p:spPr>
          <a:xfrm>
            <a:off x="3592800" y="5292538"/>
            <a:ext cx="2785887" cy="61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prstClr val="black"/>
              </a:solidFill>
            </a:endParaRPr>
          </a:p>
        </p:txBody>
      </p:sp>
      <p:sp>
        <p:nvSpPr>
          <p:cNvPr id="10" name="Textfeld 9"/>
          <p:cNvSpPr txBox="1"/>
          <p:nvPr/>
        </p:nvSpPr>
        <p:spPr>
          <a:xfrm>
            <a:off x="992560" y="1514159"/>
            <a:ext cx="1440160" cy="369332"/>
          </a:xfrm>
          <a:prstGeom prst="rect">
            <a:avLst/>
          </a:prstGeom>
          <a:noFill/>
        </p:spPr>
        <p:txBody>
          <a:bodyPr wrap="square" rtlCol="0">
            <a:spAutoFit/>
          </a:bodyPr>
          <a:lstStyle/>
          <a:p>
            <a:r>
              <a:rPr lang="en-US" dirty="0" smtClean="0">
                <a:solidFill>
                  <a:srgbClr val="606060"/>
                </a:solidFill>
              </a:rPr>
              <a:t>7.6 </a:t>
            </a:r>
            <a:r>
              <a:rPr lang="en-US" dirty="0" err="1" smtClean="0">
                <a:solidFill>
                  <a:srgbClr val="606060"/>
                </a:solidFill>
              </a:rPr>
              <a:t>bn</a:t>
            </a:r>
            <a:r>
              <a:rPr lang="en-US" dirty="0" smtClean="0">
                <a:solidFill>
                  <a:srgbClr val="606060"/>
                </a:solidFill>
              </a:rPr>
              <a:t> EUR</a:t>
            </a:r>
            <a:endParaRPr lang="en-US" dirty="0">
              <a:solidFill>
                <a:srgbClr val="606060"/>
              </a:solidFill>
            </a:endParaRPr>
          </a:p>
        </p:txBody>
      </p:sp>
      <p:sp>
        <p:nvSpPr>
          <p:cNvPr id="55" name="Rechteck 54"/>
          <p:cNvSpPr/>
          <p:nvPr/>
        </p:nvSpPr>
        <p:spPr>
          <a:xfrm>
            <a:off x="875256" y="5292538"/>
            <a:ext cx="2736751" cy="61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en-US" sz="1600" dirty="0" smtClean="0">
                <a:solidFill>
                  <a:srgbClr val="FFFFFF"/>
                </a:solidFill>
              </a:rPr>
              <a:t>Remaining subscription budget 10%</a:t>
            </a:r>
            <a:r>
              <a:rPr lang="de-DE" sz="1600" dirty="0" smtClean="0">
                <a:solidFill>
                  <a:srgbClr val="FFFFFF"/>
                </a:solidFill>
              </a:rPr>
              <a:t>(~0.8 </a:t>
            </a:r>
            <a:r>
              <a:rPr lang="de-DE" sz="1600" dirty="0" err="1" smtClean="0">
                <a:solidFill>
                  <a:srgbClr val="FFFFFF"/>
                </a:solidFill>
              </a:rPr>
              <a:t>bn</a:t>
            </a:r>
            <a:r>
              <a:rPr lang="de-DE" sz="1600" dirty="0" smtClean="0">
                <a:solidFill>
                  <a:srgbClr val="FFFFFF"/>
                </a:solidFill>
              </a:rPr>
              <a:t> EUR)</a:t>
            </a:r>
            <a:endParaRPr lang="en-US" sz="1600" dirty="0" smtClean="0">
              <a:solidFill>
                <a:srgbClr val="FFFFFF"/>
              </a:solidFill>
            </a:endParaRPr>
          </a:p>
        </p:txBody>
      </p:sp>
      <p:sp>
        <p:nvSpPr>
          <p:cNvPr id="23" name="Zylinder 8"/>
          <p:cNvSpPr/>
          <p:nvPr/>
        </p:nvSpPr>
        <p:spPr>
          <a:xfrm>
            <a:off x="196431" y="1480350"/>
            <a:ext cx="540000" cy="4464000"/>
          </a:xfrm>
          <a:custGeom>
            <a:avLst/>
            <a:gdLst/>
            <a:ahLst/>
            <a:cxnLst/>
            <a:rect l="l" t="t" r="r" b="b"/>
            <a:pathLst>
              <a:path w="540000" h="4268878">
                <a:moveTo>
                  <a:pt x="143986" y="0"/>
                </a:moveTo>
                <a:lnTo>
                  <a:pt x="396014" y="0"/>
                </a:lnTo>
                <a:lnTo>
                  <a:pt x="396014" y="3761450"/>
                </a:lnTo>
                <a:cubicBezTo>
                  <a:pt x="481915" y="3805713"/>
                  <a:pt x="540000" y="3895512"/>
                  <a:pt x="540000" y="3998878"/>
                </a:cubicBezTo>
                <a:cubicBezTo>
                  <a:pt x="540000" y="4147995"/>
                  <a:pt x="419117" y="4268878"/>
                  <a:pt x="270000" y="4268878"/>
                </a:cubicBezTo>
                <a:cubicBezTo>
                  <a:pt x="120883" y="4268878"/>
                  <a:pt x="0" y="4147995"/>
                  <a:pt x="0" y="3998878"/>
                </a:cubicBezTo>
                <a:cubicBezTo>
                  <a:pt x="0" y="3895512"/>
                  <a:pt x="58085" y="3805713"/>
                  <a:pt x="143986" y="376145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prstClr val="black"/>
              </a:solidFill>
            </a:endParaRPr>
          </a:p>
        </p:txBody>
      </p:sp>
      <p:sp>
        <p:nvSpPr>
          <p:cNvPr id="8" name="Rechteck 7"/>
          <p:cNvSpPr/>
          <p:nvPr/>
        </p:nvSpPr>
        <p:spPr>
          <a:xfrm>
            <a:off x="48435" y="5352927"/>
            <a:ext cx="818800" cy="596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600" dirty="0" smtClean="0">
              <a:solidFill>
                <a:prstClr val="black"/>
              </a:solidFill>
            </a:endParaRPr>
          </a:p>
        </p:txBody>
      </p:sp>
      <p:sp>
        <p:nvSpPr>
          <p:cNvPr id="54" name="Rechteck 53"/>
          <p:cNvSpPr/>
          <p:nvPr/>
        </p:nvSpPr>
        <p:spPr>
          <a:xfrm>
            <a:off x="6378687" y="4985893"/>
            <a:ext cx="2667858" cy="9186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en-US" sz="1600" dirty="0" smtClean="0">
                <a:solidFill>
                  <a:prstClr val="black"/>
                </a:solidFill>
              </a:rPr>
              <a:t>Open Access volume:</a:t>
            </a:r>
            <a:br>
              <a:rPr lang="en-US" sz="1600" dirty="0" smtClean="0">
                <a:solidFill>
                  <a:prstClr val="black"/>
                </a:solidFill>
              </a:rPr>
            </a:br>
            <a:r>
              <a:rPr lang="en-US" sz="1600" dirty="0" smtClean="0">
                <a:solidFill>
                  <a:prstClr val="black"/>
                </a:solidFill>
              </a:rPr>
              <a:t> ~14% of articles; </a:t>
            </a:r>
            <a:br>
              <a:rPr lang="en-US" sz="1600" dirty="0" smtClean="0">
                <a:solidFill>
                  <a:prstClr val="black"/>
                </a:solidFill>
              </a:rPr>
            </a:br>
            <a:r>
              <a:rPr lang="en-US" sz="1600" dirty="0" smtClean="0">
                <a:solidFill>
                  <a:prstClr val="black"/>
                </a:solidFill>
              </a:rPr>
              <a:t>~4% of </a:t>
            </a:r>
            <a:r>
              <a:rPr lang="en-US" sz="1600" dirty="0">
                <a:solidFill>
                  <a:prstClr val="black"/>
                </a:solidFill>
              </a:rPr>
              <a:t> </a:t>
            </a:r>
            <a:r>
              <a:rPr lang="en-US" sz="1600" dirty="0" smtClean="0">
                <a:solidFill>
                  <a:prstClr val="black"/>
                </a:solidFill>
              </a:rPr>
              <a:t>budget</a:t>
            </a:r>
          </a:p>
        </p:txBody>
      </p:sp>
      <p:graphicFrame>
        <p:nvGraphicFramePr>
          <p:cNvPr id="56" name="Objekt 55" hidden="1"/>
          <p:cNvGraphicFramePr>
            <a:graphicFrameLocks noChangeAspect="1"/>
          </p:cNvGraphicFramePr>
          <p:nvPr>
            <p:custDataLst>
              <p:tags r:id="rId2"/>
            </p:custDataLst>
            <p:extLst>
              <p:ext uri="{D42A27DB-BD31-4B8C-83A1-F6EECF244321}">
                <p14:modId xmlns:p14="http://schemas.microsoft.com/office/powerpoint/2010/main" val="10677075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56" name="think-cell Folie" r:id="rId5" imgW="340" imgH="341" progId="TCLayout.ActiveDocument.1">
                  <p:embed/>
                </p:oleObj>
              </mc:Choice>
              <mc:Fallback>
                <p:oleObj name="think-cell Folie" r:id="rId5" imgW="340" imgH="34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7" name="Zylinder 8"/>
          <p:cNvSpPr/>
          <p:nvPr/>
        </p:nvSpPr>
        <p:spPr>
          <a:xfrm>
            <a:off x="9183438" y="3680060"/>
            <a:ext cx="540000" cy="2258000"/>
          </a:xfrm>
          <a:custGeom>
            <a:avLst/>
            <a:gdLst/>
            <a:ahLst/>
            <a:cxnLst/>
            <a:rect l="l" t="t" r="r" b="b"/>
            <a:pathLst>
              <a:path w="540000" h="2258000">
                <a:moveTo>
                  <a:pt x="143986" y="0"/>
                </a:moveTo>
                <a:lnTo>
                  <a:pt x="396014" y="0"/>
                </a:lnTo>
                <a:lnTo>
                  <a:pt x="396014" y="1750572"/>
                </a:lnTo>
                <a:cubicBezTo>
                  <a:pt x="481915" y="1794835"/>
                  <a:pt x="540000" y="1884634"/>
                  <a:pt x="540000" y="1988000"/>
                </a:cubicBezTo>
                <a:cubicBezTo>
                  <a:pt x="540000" y="2137117"/>
                  <a:pt x="419117" y="2258000"/>
                  <a:pt x="270000" y="2258000"/>
                </a:cubicBezTo>
                <a:cubicBezTo>
                  <a:pt x="120883" y="2258000"/>
                  <a:pt x="0" y="2137117"/>
                  <a:pt x="0" y="1988000"/>
                </a:cubicBezTo>
                <a:cubicBezTo>
                  <a:pt x="0" y="1884634"/>
                  <a:pt x="58085" y="1794835"/>
                  <a:pt x="143986" y="1750572"/>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prstClr val="black"/>
              </a:solidFill>
            </a:endParaRPr>
          </a:p>
        </p:txBody>
      </p:sp>
      <p:sp>
        <p:nvSpPr>
          <p:cNvPr id="123" name="Zylinder 8"/>
          <p:cNvSpPr/>
          <p:nvPr/>
        </p:nvSpPr>
        <p:spPr>
          <a:xfrm>
            <a:off x="9183724" y="5291251"/>
            <a:ext cx="540000" cy="646809"/>
          </a:xfrm>
          <a:custGeom>
            <a:avLst/>
            <a:gdLst/>
            <a:ahLst/>
            <a:cxnLst/>
            <a:rect l="l" t="t" r="r" b="b"/>
            <a:pathLst>
              <a:path w="540000" h="646809">
                <a:moveTo>
                  <a:pt x="143986" y="0"/>
                </a:moveTo>
                <a:lnTo>
                  <a:pt x="396014" y="0"/>
                </a:lnTo>
                <a:lnTo>
                  <a:pt x="396014" y="139381"/>
                </a:lnTo>
                <a:cubicBezTo>
                  <a:pt x="481915" y="183644"/>
                  <a:pt x="540000" y="273443"/>
                  <a:pt x="540000" y="376809"/>
                </a:cubicBezTo>
                <a:cubicBezTo>
                  <a:pt x="540000" y="525926"/>
                  <a:pt x="419117" y="646809"/>
                  <a:pt x="270000" y="646809"/>
                </a:cubicBezTo>
                <a:cubicBezTo>
                  <a:pt x="120883" y="646809"/>
                  <a:pt x="0" y="525926"/>
                  <a:pt x="0" y="376809"/>
                </a:cubicBezTo>
                <a:cubicBezTo>
                  <a:pt x="0" y="273443"/>
                  <a:pt x="58085" y="183644"/>
                  <a:pt x="143986" y="13938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prstClr val="black"/>
              </a:solidFill>
            </a:endParaRPr>
          </a:p>
        </p:txBody>
      </p:sp>
      <p:sp>
        <p:nvSpPr>
          <p:cNvPr id="5" name="Foliennummernplatzhalter 4"/>
          <p:cNvSpPr>
            <a:spLocks noGrp="1"/>
          </p:cNvSpPr>
          <p:nvPr>
            <p:ph type="sldNum" sz="quarter" idx="12"/>
          </p:nvPr>
        </p:nvSpPr>
        <p:spPr>
          <a:xfrm>
            <a:off x="8931442" y="6564227"/>
            <a:ext cx="773912" cy="167164"/>
          </a:xfrm>
        </p:spPr>
        <p:txBody>
          <a:bodyPr/>
          <a:lstStyle/>
          <a:p>
            <a:fld id="{4AD1E780-DE1C-4ECA-B5E5-863D0BC53287}" type="slidenum">
              <a:rPr lang="en-US" smtClean="0">
                <a:solidFill>
                  <a:prstClr val="black">
                    <a:tint val="75000"/>
                  </a:prstClr>
                </a:solidFill>
              </a:rPr>
              <a:pPr/>
              <a:t>13</a:t>
            </a:fld>
            <a:endParaRPr lang="en-US" dirty="0">
              <a:solidFill>
                <a:prstClr val="black">
                  <a:tint val="75000"/>
                </a:prstClr>
              </a:solidFill>
            </a:endParaRPr>
          </a:p>
        </p:txBody>
      </p:sp>
      <p:sp>
        <p:nvSpPr>
          <p:cNvPr id="6" name="Textplatzhalter 5"/>
          <p:cNvSpPr>
            <a:spLocks noGrp="1"/>
          </p:cNvSpPr>
          <p:nvPr>
            <p:ph type="body" sz="quarter" idx="13"/>
          </p:nvPr>
        </p:nvSpPr>
        <p:spPr/>
        <p:txBody>
          <a:bodyPr/>
          <a:lstStyle/>
          <a:p>
            <a:r>
              <a:rPr lang="de-DE" dirty="0" smtClean="0"/>
              <a:t>Transformation bedeutet Umschichtung der Budgets sowie Umstellung der Zeitschriften und Prozesse</a:t>
            </a:r>
            <a:endParaRPr lang="de-DE" dirty="0"/>
          </a:p>
        </p:txBody>
      </p:sp>
      <p:sp>
        <p:nvSpPr>
          <p:cNvPr id="49" name="Pfeil nach rechts 48"/>
          <p:cNvSpPr/>
          <p:nvPr/>
        </p:nvSpPr>
        <p:spPr>
          <a:xfrm>
            <a:off x="3728864" y="5508528"/>
            <a:ext cx="288032" cy="180020"/>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600" dirty="0" smtClean="0">
              <a:solidFill>
                <a:prstClr val="black"/>
              </a:solidFill>
            </a:endParaRPr>
          </a:p>
        </p:txBody>
      </p:sp>
      <p:sp>
        <p:nvSpPr>
          <p:cNvPr id="50" name="Pfeil nach rechts 49"/>
          <p:cNvSpPr/>
          <p:nvPr/>
        </p:nvSpPr>
        <p:spPr>
          <a:xfrm>
            <a:off x="4268924" y="5508528"/>
            <a:ext cx="288032" cy="180020"/>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prstClr val="black"/>
              </a:solidFill>
            </a:endParaRPr>
          </a:p>
        </p:txBody>
      </p:sp>
      <p:sp>
        <p:nvSpPr>
          <p:cNvPr id="51" name="Pfeil nach rechts 50"/>
          <p:cNvSpPr/>
          <p:nvPr/>
        </p:nvSpPr>
        <p:spPr>
          <a:xfrm>
            <a:off x="4808984" y="5508528"/>
            <a:ext cx="288032" cy="180020"/>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prstClr val="black"/>
              </a:solidFill>
            </a:endParaRPr>
          </a:p>
        </p:txBody>
      </p:sp>
      <p:sp>
        <p:nvSpPr>
          <p:cNvPr id="52" name="Pfeil nach rechts 51"/>
          <p:cNvSpPr/>
          <p:nvPr/>
        </p:nvSpPr>
        <p:spPr>
          <a:xfrm>
            <a:off x="5349044" y="5508528"/>
            <a:ext cx="288032" cy="180020"/>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prstClr val="black"/>
              </a:solidFill>
            </a:endParaRPr>
          </a:p>
        </p:txBody>
      </p:sp>
      <p:sp>
        <p:nvSpPr>
          <p:cNvPr id="53" name="Pfeil nach rechts 52"/>
          <p:cNvSpPr/>
          <p:nvPr/>
        </p:nvSpPr>
        <p:spPr>
          <a:xfrm>
            <a:off x="5889104" y="5508528"/>
            <a:ext cx="288032" cy="180020"/>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prstClr val="black"/>
              </a:solidFill>
            </a:endParaRPr>
          </a:p>
        </p:txBody>
      </p:sp>
      <p:sp>
        <p:nvSpPr>
          <p:cNvPr id="57" name="Rechteck 56"/>
          <p:cNvSpPr/>
          <p:nvPr/>
        </p:nvSpPr>
        <p:spPr>
          <a:xfrm>
            <a:off x="3612007" y="5087680"/>
            <a:ext cx="2766680" cy="1100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prstClr val="black"/>
              </a:solidFill>
            </a:endParaRPr>
          </a:p>
        </p:txBody>
      </p:sp>
      <p:grpSp>
        <p:nvGrpSpPr>
          <p:cNvPr id="79" name="Gruppieren 78"/>
          <p:cNvGrpSpPr/>
          <p:nvPr/>
        </p:nvGrpSpPr>
        <p:grpSpPr>
          <a:xfrm>
            <a:off x="9183438" y="1422060"/>
            <a:ext cx="540000" cy="4516000"/>
            <a:chOff x="194338" y="1669710"/>
            <a:chExt cx="540000" cy="4516000"/>
          </a:xfrm>
        </p:grpSpPr>
        <p:sp>
          <p:nvSpPr>
            <p:cNvPr id="81" name="Zylinder 8"/>
            <p:cNvSpPr/>
            <p:nvPr/>
          </p:nvSpPr>
          <p:spPr>
            <a:xfrm>
              <a:off x="194338" y="1669710"/>
              <a:ext cx="540000" cy="4516000"/>
            </a:xfrm>
            <a:custGeom>
              <a:avLst/>
              <a:gdLst/>
              <a:ahLst/>
              <a:cxnLst/>
              <a:rect l="l" t="t" r="r" b="b"/>
              <a:pathLst>
                <a:path w="540000" h="4516000">
                  <a:moveTo>
                    <a:pt x="270000" y="0"/>
                  </a:moveTo>
                  <a:cubicBezTo>
                    <a:pt x="339596" y="0"/>
                    <a:pt x="396014" y="14105"/>
                    <a:pt x="396014" y="31504"/>
                  </a:cubicBezTo>
                  <a:lnTo>
                    <a:pt x="396014" y="4008572"/>
                  </a:lnTo>
                  <a:cubicBezTo>
                    <a:pt x="481915" y="4052835"/>
                    <a:pt x="540000" y="4142634"/>
                    <a:pt x="540000" y="4246000"/>
                  </a:cubicBezTo>
                  <a:cubicBezTo>
                    <a:pt x="540000" y="4395117"/>
                    <a:pt x="419117" y="4516000"/>
                    <a:pt x="270000" y="4516000"/>
                  </a:cubicBezTo>
                  <a:cubicBezTo>
                    <a:pt x="120883" y="4516000"/>
                    <a:pt x="0" y="4395117"/>
                    <a:pt x="0" y="4246000"/>
                  </a:cubicBezTo>
                  <a:cubicBezTo>
                    <a:pt x="0" y="4142634"/>
                    <a:pt x="58085" y="4052835"/>
                    <a:pt x="143986" y="4008572"/>
                  </a:cubicBezTo>
                  <a:lnTo>
                    <a:pt x="143986" y="31504"/>
                  </a:lnTo>
                  <a:cubicBezTo>
                    <a:pt x="143986" y="14105"/>
                    <a:pt x="200404" y="0"/>
                    <a:pt x="270000" y="0"/>
                  </a:cubicBezTo>
                  <a:close/>
                </a:path>
              </a:pathLst>
            </a:cu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prstClr val="black"/>
                </a:solidFill>
              </a:endParaRPr>
            </a:p>
          </p:txBody>
        </p:sp>
        <p:grpSp>
          <p:nvGrpSpPr>
            <p:cNvPr id="82" name="Gruppieren 81"/>
            <p:cNvGrpSpPr/>
            <p:nvPr/>
          </p:nvGrpSpPr>
          <p:grpSpPr>
            <a:xfrm>
              <a:off x="410338" y="1772819"/>
              <a:ext cx="108000" cy="3867863"/>
              <a:chOff x="4250922" y="1772819"/>
              <a:chExt cx="108000" cy="3867863"/>
            </a:xfrm>
          </p:grpSpPr>
          <p:cxnSp>
            <p:nvCxnSpPr>
              <p:cNvPr id="83" name="Gerade Verbindung 82"/>
              <p:cNvCxnSpPr/>
              <p:nvPr/>
            </p:nvCxnSpPr>
            <p:spPr>
              <a:xfrm>
                <a:off x="4250922" y="258710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p:nvCxnSpPr>
            <p:spPr>
              <a:xfrm>
                <a:off x="4250922" y="279067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p:nvCxnSpPr>
            <p:spPr>
              <a:xfrm>
                <a:off x="4250922" y="299425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p:nvCxnSpPr>
            <p:spPr>
              <a:xfrm>
                <a:off x="4250922" y="309603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p:nvCxnSpPr>
            <p:spPr>
              <a:xfrm>
                <a:off x="4250922" y="319782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a:xfrm>
                <a:off x="4250922" y="329960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p:nvCxnSpPr>
            <p:spPr>
              <a:xfrm>
                <a:off x="4250922" y="350318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Gerade Verbindung 89"/>
              <p:cNvCxnSpPr/>
              <p:nvPr/>
            </p:nvCxnSpPr>
            <p:spPr>
              <a:xfrm>
                <a:off x="4250922" y="370675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Gerade Verbindung 90"/>
              <p:cNvCxnSpPr/>
              <p:nvPr/>
            </p:nvCxnSpPr>
            <p:spPr>
              <a:xfrm>
                <a:off x="4250922" y="391032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p:nvCxnSpPr>
            <p:spPr>
              <a:xfrm>
                <a:off x="4250922" y="411389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a:xfrm>
                <a:off x="4250922" y="431746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a:xfrm>
                <a:off x="4250922" y="340139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p:nvCxnSpPr>
            <p:spPr>
              <a:xfrm>
                <a:off x="4250922" y="360496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Gerade Verbindung 95"/>
              <p:cNvCxnSpPr/>
              <p:nvPr/>
            </p:nvCxnSpPr>
            <p:spPr>
              <a:xfrm>
                <a:off x="4250922" y="380853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p:nvCxnSpPr>
            <p:spPr>
              <a:xfrm>
                <a:off x="4250922" y="401211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a:xfrm>
                <a:off x="4250922" y="421568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p:nvCxnSpPr>
            <p:spPr>
              <a:xfrm>
                <a:off x="4250922" y="441925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p:nvCxnSpPr>
            <p:spPr>
              <a:xfrm>
                <a:off x="4250922" y="452104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p:nvCxnSpPr>
            <p:spPr>
              <a:xfrm>
                <a:off x="4250922" y="462282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2" name="Gerade Verbindung 101"/>
              <p:cNvCxnSpPr/>
              <p:nvPr/>
            </p:nvCxnSpPr>
            <p:spPr>
              <a:xfrm>
                <a:off x="4250922" y="472461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p:nvCxnSpPr>
            <p:spPr>
              <a:xfrm>
                <a:off x="4250922" y="482639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p:nvCxnSpPr>
            <p:spPr>
              <a:xfrm>
                <a:off x="4250922" y="502997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5" name="Gerade Verbindung 104"/>
              <p:cNvCxnSpPr/>
              <p:nvPr/>
            </p:nvCxnSpPr>
            <p:spPr>
              <a:xfrm>
                <a:off x="4250922" y="177281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p:nvCxnSpPr>
            <p:spPr>
              <a:xfrm>
                <a:off x="4250922" y="187460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nvCxnSpPr>
            <p:spPr>
              <a:xfrm>
                <a:off x="4250922" y="197639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p:nvCxnSpPr>
            <p:spPr>
              <a:xfrm>
                <a:off x="4250922" y="207817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4250922" y="217996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4250922" y="228174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p:nvCxnSpPr>
            <p:spPr>
              <a:xfrm>
                <a:off x="4250922" y="248532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a:xfrm>
                <a:off x="4250922" y="289246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a:xfrm>
                <a:off x="4250922" y="238353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p:nvCxnSpPr>
            <p:spPr>
              <a:xfrm>
                <a:off x="4250922" y="268889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p:nvCxnSpPr>
            <p:spPr>
              <a:xfrm>
                <a:off x="4250922" y="492818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p:nvCxnSpPr>
            <p:spPr>
              <a:xfrm>
                <a:off x="4250922" y="513175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p:nvCxnSpPr>
            <p:spPr>
              <a:xfrm>
                <a:off x="4250922" y="523354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p:nvCxnSpPr>
            <p:spPr>
              <a:xfrm>
                <a:off x="4250922" y="533532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p:nvCxnSpPr>
            <p:spPr>
              <a:xfrm>
                <a:off x="4250922" y="543711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0" name="Gerade Verbindung 119"/>
              <p:cNvCxnSpPr/>
              <p:nvPr/>
            </p:nvCxnSpPr>
            <p:spPr>
              <a:xfrm>
                <a:off x="4250922" y="553890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1" name="Gerade Verbindung 120"/>
              <p:cNvCxnSpPr/>
              <p:nvPr/>
            </p:nvCxnSpPr>
            <p:spPr>
              <a:xfrm>
                <a:off x="4250922" y="5640682"/>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122" name="Zylinder 8"/>
          <p:cNvSpPr/>
          <p:nvPr/>
        </p:nvSpPr>
        <p:spPr>
          <a:xfrm>
            <a:off x="194624" y="5291252"/>
            <a:ext cx="540000" cy="646809"/>
          </a:xfrm>
          <a:custGeom>
            <a:avLst/>
            <a:gdLst/>
            <a:ahLst/>
            <a:cxnLst/>
            <a:rect l="l" t="t" r="r" b="b"/>
            <a:pathLst>
              <a:path w="540000" h="646809">
                <a:moveTo>
                  <a:pt x="143986" y="0"/>
                </a:moveTo>
                <a:lnTo>
                  <a:pt x="396014" y="0"/>
                </a:lnTo>
                <a:lnTo>
                  <a:pt x="396014" y="139381"/>
                </a:lnTo>
                <a:cubicBezTo>
                  <a:pt x="481915" y="183644"/>
                  <a:pt x="540000" y="273443"/>
                  <a:pt x="540000" y="376809"/>
                </a:cubicBezTo>
                <a:cubicBezTo>
                  <a:pt x="540000" y="525926"/>
                  <a:pt x="419117" y="646809"/>
                  <a:pt x="270000" y="646809"/>
                </a:cubicBezTo>
                <a:cubicBezTo>
                  <a:pt x="120883" y="646809"/>
                  <a:pt x="0" y="525926"/>
                  <a:pt x="0" y="376809"/>
                </a:cubicBezTo>
                <a:cubicBezTo>
                  <a:pt x="0" y="273443"/>
                  <a:pt x="58085" y="183644"/>
                  <a:pt x="143986" y="13938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600" dirty="0" smtClean="0">
              <a:solidFill>
                <a:prstClr val="black"/>
              </a:solidFill>
            </a:endParaRPr>
          </a:p>
        </p:txBody>
      </p:sp>
      <p:sp>
        <p:nvSpPr>
          <p:cNvPr id="7" name="Rechteck 6"/>
          <p:cNvSpPr/>
          <p:nvPr/>
        </p:nvSpPr>
        <p:spPr>
          <a:xfrm>
            <a:off x="6378687" y="2034099"/>
            <a:ext cx="2653682" cy="1678250"/>
          </a:xfrm>
          <a:prstGeom prst="rect">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dirty="0" smtClean="0">
              <a:solidFill>
                <a:prstClr val="black"/>
              </a:solidFill>
            </a:endParaRPr>
          </a:p>
          <a:p>
            <a:pPr algn="ctr"/>
            <a:r>
              <a:rPr lang="en-US" dirty="0" smtClean="0">
                <a:solidFill>
                  <a:prstClr val="black"/>
                </a:solidFill>
              </a:rPr>
              <a:t>2.8 </a:t>
            </a:r>
            <a:r>
              <a:rPr lang="en-US" dirty="0" err="1" smtClean="0">
                <a:solidFill>
                  <a:prstClr val="black"/>
                </a:solidFill>
              </a:rPr>
              <a:t>bn</a:t>
            </a:r>
            <a:r>
              <a:rPr lang="en-US" dirty="0" smtClean="0">
                <a:solidFill>
                  <a:prstClr val="black"/>
                </a:solidFill>
              </a:rPr>
              <a:t> EUR buffer for new &amp; improved services etc.</a:t>
            </a:r>
            <a:br>
              <a:rPr lang="en-US" dirty="0" smtClean="0">
                <a:solidFill>
                  <a:prstClr val="black"/>
                </a:solidFill>
              </a:rPr>
            </a:br>
            <a:r>
              <a:rPr lang="en-US" dirty="0" smtClean="0">
                <a:solidFill>
                  <a:prstClr val="black"/>
                </a:solidFill>
              </a:rPr>
              <a:t>(without remaining subscriptions)</a:t>
            </a:r>
            <a:br>
              <a:rPr lang="en-US" dirty="0" smtClean="0">
                <a:solidFill>
                  <a:prstClr val="black"/>
                </a:solidFill>
              </a:rPr>
            </a:br>
            <a:endParaRPr lang="en-US" dirty="0" smtClean="0">
              <a:solidFill>
                <a:prstClr val="black"/>
              </a:solidFill>
            </a:endParaRPr>
          </a:p>
        </p:txBody>
      </p:sp>
      <p:grpSp>
        <p:nvGrpSpPr>
          <p:cNvPr id="14" name="Gruppieren 13"/>
          <p:cNvGrpSpPr/>
          <p:nvPr/>
        </p:nvGrpSpPr>
        <p:grpSpPr>
          <a:xfrm>
            <a:off x="194338" y="1422061"/>
            <a:ext cx="540000" cy="4516000"/>
            <a:chOff x="194338" y="1669710"/>
            <a:chExt cx="540000" cy="4516000"/>
          </a:xfrm>
        </p:grpSpPr>
        <p:sp>
          <p:nvSpPr>
            <p:cNvPr id="9" name="Zylinder 8"/>
            <p:cNvSpPr/>
            <p:nvPr/>
          </p:nvSpPr>
          <p:spPr>
            <a:xfrm>
              <a:off x="194338" y="1669710"/>
              <a:ext cx="540000" cy="4516000"/>
            </a:xfrm>
            <a:custGeom>
              <a:avLst/>
              <a:gdLst/>
              <a:ahLst/>
              <a:cxnLst/>
              <a:rect l="l" t="t" r="r" b="b"/>
              <a:pathLst>
                <a:path w="540000" h="4516000">
                  <a:moveTo>
                    <a:pt x="270000" y="0"/>
                  </a:moveTo>
                  <a:cubicBezTo>
                    <a:pt x="339596" y="0"/>
                    <a:pt x="396014" y="14105"/>
                    <a:pt x="396014" y="31504"/>
                  </a:cubicBezTo>
                  <a:lnTo>
                    <a:pt x="396014" y="4008572"/>
                  </a:lnTo>
                  <a:cubicBezTo>
                    <a:pt x="481915" y="4052835"/>
                    <a:pt x="540000" y="4142634"/>
                    <a:pt x="540000" y="4246000"/>
                  </a:cubicBezTo>
                  <a:cubicBezTo>
                    <a:pt x="540000" y="4395117"/>
                    <a:pt x="419117" y="4516000"/>
                    <a:pt x="270000" y="4516000"/>
                  </a:cubicBezTo>
                  <a:cubicBezTo>
                    <a:pt x="120883" y="4516000"/>
                    <a:pt x="0" y="4395117"/>
                    <a:pt x="0" y="4246000"/>
                  </a:cubicBezTo>
                  <a:cubicBezTo>
                    <a:pt x="0" y="4142634"/>
                    <a:pt x="58085" y="4052835"/>
                    <a:pt x="143986" y="4008572"/>
                  </a:cubicBezTo>
                  <a:lnTo>
                    <a:pt x="143986" y="31504"/>
                  </a:lnTo>
                  <a:cubicBezTo>
                    <a:pt x="143986" y="14105"/>
                    <a:pt x="200404" y="0"/>
                    <a:pt x="270000" y="0"/>
                  </a:cubicBezTo>
                  <a:close/>
                </a:path>
              </a:pathLst>
            </a:cu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prstClr val="black"/>
                </a:solidFill>
              </a:endParaRPr>
            </a:p>
          </p:txBody>
        </p:sp>
        <p:grpSp>
          <p:nvGrpSpPr>
            <p:cNvPr id="13" name="Gruppieren 12"/>
            <p:cNvGrpSpPr/>
            <p:nvPr/>
          </p:nvGrpSpPr>
          <p:grpSpPr>
            <a:xfrm>
              <a:off x="410338" y="1772819"/>
              <a:ext cx="108000" cy="3867863"/>
              <a:chOff x="4250922" y="1772819"/>
              <a:chExt cx="108000" cy="3867863"/>
            </a:xfrm>
          </p:grpSpPr>
          <p:cxnSp>
            <p:nvCxnSpPr>
              <p:cNvPr id="12" name="Gerade Verbindung 11"/>
              <p:cNvCxnSpPr/>
              <p:nvPr/>
            </p:nvCxnSpPr>
            <p:spPr>
              <a:xfrm>
                <a:off x="4250922" y="258710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a:off x="4250922" y="279067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a:xfrm>
                <a:off x="4250922" y="299425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a:xfrm>
                <a:off x="4250922" y="309603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a:xfrm>
                <a:off x="4250922" y="319782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a:off x="4250922" y="329960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a:xfrm>
                <a:off x="4250922" y="350318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a:xfrm>
                <a:off x="4250922" y="370675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a:xfrm>
                <a:off x="4250922" y="391032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a:xfrm>
                <a:off x="4250922" y="411389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a:xfrm>
                <a:off x="4250922" y="431746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a:xfrm>
                <a:off x="4250922" y="340139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a:xfrm>
                <a:off x="4250922" y="360496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a:xfrm>
                <a:off x="4250922" y="380853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a:off x="4250922" y="401211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p:nvCxnSpPr>
            <p:spPr>
              <a:xfrm>
                <a:off x="4250922" y="421568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a:off x="4250922" y="441925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a:xfrm>
                <a:off x="4250922" y="452104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4250922" y="462282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a:xfrm>
                <a:off x="4250922" y="472461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nvCxnSpPr>
            <p:spPr>
              <a:xfrm>
                <a:off x="4250922" y="482639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p:nvCxnSpPr>
            <p:spPr>
              <a:xfrm>
                <a:off x="4250922" y="502997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p:nvCxnSpPr>
            <p:spPr>
              <a:xfrm>
                <a:off x="4250922" y="177281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p:nvCxnSpPr>
            <p:spPr>
              <a:xfrm>
                <a:off x="4250922" y="187460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p:nvCxnSpPr>
            <p:spPr>
              <a:xfrm>
                <a:off x="4250922" y="197639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p:nvCxnSpPr>
            <p:spPr>
              <a:xfrm>
                <a:off x="4250922" y="207817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p:nvCxnSpPr>
            <p:spPr>
              <a:xfrm>
                <a:off x="4250922" y="217996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p:nvCxnSpPr>
            <p:spPr>
              <a:xfrm>
                <a:off x="4250922" y="228174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Gerade Verbindung 65"/>
              <p:cNvCxnSpPr/>
              <p:nvPr/>
            </p:nvCxnSpPr>
            <p:spPr>
              <a:xfrm>
                <a:off x="4250922" y="248532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p:nvCxnSpPr>
            <p:spPr>
              <a:xfrm>
                <a:off x="4250922" y="289246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p:nvCxnSpPr>
            <p:spPr>
              <a:xfrm>
                <a:off x="4250922" y="238353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p:nvCxnSpPr>
            <p:spPr>
              <a:xfrm>
                <a:off x="4250922" y="268889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a:xfrm>
                <a:off x="4250922" y="492818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p:nvCxnSpPr>
            <p:spPr>
              <a:xfrm>
                <a:off x="4250922" y="5131757"/>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a:xfrm>
                <a:off x="4250922" y="5233543"/>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p:nvCxnSpPr>
            <p:spPr>
              <a:xfrm>
                <a:off x="4250922" y="5335329"/>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p:nvCxnSpPr>
            <p:spPr>
              <a:xfrm>
                <a:off x="4250922" y="5437115"/>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a:xfrm>
                <a:off x="4250922" y="5538901"/>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a:xfrm>
                <a:off x="4250922" y="5640682"/>
                <a:ext cx="1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124" name="Rechteck 123"/>
          <p:cNvSpPr/>
          <p:nvPr/>
        </p:nvSpPr>
        <p:spPr>
          <a:xfrm>
            <a:off x="875256" y="1480349"/>
            <a:ext cx="2717544" cy="4414663"/>
          </a:xfrm>
          <a:prstGeom prst="rect">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en-US" sz="1400" dirty="0" smtClean="0">
                <a:solidFill>
                  <a:srgbClr val="FFFFFF"/>
                </a:solidFill>
              </a:rPr>
              <a:t> </a:t>
            </a:r>
            <a:endParaRPr lang="en-US" sz="1200" dirty="0" smtClean="0">
              <a:solidFill>
                <a:srgbClr val="FFFFFF"/>
              </a:solidFill>
            </a:endParaRPr>
          </a:p>
        </p:txBody>
      </p:sp>
      <p:sp>
        <p:nvSpPr>
          <p:cNvPr id="37" name="Rechteck 36"/>
          <p:cNvSpPr/>
          <p:nvPr/>
        </p:nvSpPr>
        <p:spPr>
          <a:xfrm>
            <a:off x="6378687" y="3682178"/>
            <a:ext cx="2667858" cy="22244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en-US" dirty="0" smtClean="0">
                <a:solidFill>
                  <a:prstClr val="black"/>
                </a:solidFill>
              </a:rPr>
              <a:t>Global </a:t>
            </a:r>
            <a:br>
              <a:rPr lang="en-US" dirty="0" smtClean="0">
                <a:solidFill>
                  <a:prstClr val="black"/>
                </a:solidFill>
              </a:rPr>
            </a:br>
            <a:r>
              <a:rPr lang="en-US" dirty="0" smtClean="0">
                <a:solidFill>
                  <a:prstClr val="black"/>
                </a:solidFill>
              </a:rPr>
              <a:t>open </a:t>
            </a:r>
            <a:r>
              <a:rPr lang="en-US" dirty="0">
                <a:solidFill>
                  <a:prstClr val="black"/>
                </a:solidFill>
              </a:rPr>
              <a:t>a</a:t>
            </a:r>
            <a:r>
              <a:rPr lang="en-US" dirty="0" smtClean="0">
                <a:solidFill>
                  <a:prstClr val="black"/>
                </a:solidFill>
              </a:rPr>
              <a:t>ccess journal </a:t>
            </a:r>
            <a:br>
              <a:rPr lang="en-US" dirty="0" smtClean="0">
                <a:solidFill>
                  <a:prstClr val="black"/>
                </a:solidFill>
              </a:rPr>
            </a:br>
            <a:r>
              <a:rPr lang="en-US" dirty="0" smtClean="0">
                <a:solidFill>
                  <a:prstClr val="black"/>
                </a:solidFill>
              </a:rPr>
              <a:t>base budget</a:t>
            </a:r>
            <a:br>
              <a:rPr lang="en-US" dirty="0" smtClean="0">
                <a:solidFill>
                  <a:prstClr val="black"/>
                </a:solidFill>
              </a:rPr>
            </a:br>
            <a:r>
              <a:rPr lang="en-US" dirty="0" smtClean="0">
                <a:solidFill>
                  <a:prstClr val="black"/>
                </a:solidFill>
              </a:rPr>
              <a:t>4 </a:t>
            </a:r>
            <a:r>
              <a:rPr lang="en-US" dirty="0" err="1" smtClean="0">
                <a:solidFill>
                  <a:prstClr val="black"/>
                </a:solidFill>
              </a:rPr>
              <a:t>bn</a:t>
            </a:r>
            <a:r>
              <a:rPr lang="en-US" dirty="0" smtClean="0">
                <a:solidFill>
                  <a:prstClr val="black"/>
                </a:solidFill>
              </a:rPr>
              <a:t> EUR p.a.</a:t>
            </a:r>
            <a:br>
              <a:rPr lang="en-US" dirty="0" smtClean="0">
                <a:solidFill>
                  <a:prstClr val="black"/>
                </a:solidFill>
              </a:rPr>
            </a:br>
            <a:r>
              <a:rPr lang="en-US" dirty="0" smtClean="0">
                <a:solidFill>
                  <a:prstClr val="black"/>
                </a:solidFill>
              </a:rPr>
              <a:t/>
            </a:r>
            <a:br>
              <a:rPr lang="en-US" dirty="0" smtClean="0">
                <a:solidFill>
                  <a:prstClr val="black"/>
                </a:solidFill>
              </a:rPr>
            </a:br>
            <a:r>
              <a:rPr lang="en-US" dirty="0" smtClean="0">
                <a:solidFill>
                  <a:prstClr val="black"/>
                </a:solidFill>
              </a:rPr>
              <a:t>(</a:t>
            </a:r>
            <a:r>
              <a:rPr lang="en-US" dirty="0">
                <a:solidFill>
                  <a:prstClr val="black"/>
                </a:solidFill>
              </a:rPr>
              <a:t>2,000 €/</a:t>
            </a:r>
            <a:r>
              <a:rPr lang="en-US" dirty="0" smtClean="0">
                <a:solidFill>
                  <a:prstClr val="black"/>
                </a:solidFill>
              </a:rPr>
              <a:t>article) </a:t>
            </a:r>
          </a:p>
        </p:txBody>
      </p:sp>
      <p:sp>
        <p:nvSpPr>
          <p:cNvPr id="125" name="Textfeld 124"/>
          <p:cNvSpPr txBox="1"/>
          <p:nvPr/>
        </p:nvSpPr>
        <p:spPr>
          <a:xfrm>
            <a:off x="319418" y="6030324"/>
            <a:ext cx="9384970" cy="453183"/>
          </a:xfrm>
          <a:prstGeom prst="rect">
            <a:avLst/>
          </a:prstGeom>
          <a:solidFill>
            <a:schemeClr val="bg1"/>
          </a:solidFill>
          <a:ln w="19050">
            <a:solidFill>
              <a:schemeClr val="accent4"/>
            </a:solidFill>
          </a:ln>
        </p:spPr>
        <p:txBody>
          <a:bodyPr wrap="square" lIns="72000" tIns="72000" rIns="72000" bIns="72000" rtlCol="0">
            <a:spAutoFit/>
          </a:bodyPr>
          <a:lstStyle>
            <a:defPPr>
              <a:defRPr lang="de-DE"/>
            </a:defPPr>
            <a:lvl1pPr algn="ctr">
              <a:defRPr i="1">
                <a:solidFill>
                  <a:schemeClr val="bg1"/>
                </a:solidFill>
              </a:defRPr>
            </a:lvl1pPr>
          </a:lstStyle>
          <a:p>
            <a:r>
              <a:rPr lang="de-DE" sz="2000" b="1" i="0" dirty="0" smtClean="0">
                <a:solidFill>
                  <a:srgbClr val="606060"/>
                </a:solidFill>
              </a:rPr>
              <a:t>Annahme 90% Konversion</a:t>
            </a:r>
            <a:endParaRPr lang="de-DE" sz="2000" b="1" i="0" dirty="0">
              <a:solidFill>
                <a:srgbClr val="606060"/>
              </a:solidFill>
            </a:endParaRPr>
          </a:p>
        </p:txBody>
      </p:sp>
      <p:sp>
        <p:nvSpPr>
          <p:cNvPr id="3" name="Rechteck 2"/>
          <p:cNvSpPr/>
          <p:nvPr/>
        </p:nvSpPr>
        <p:spPr>
          <a:xfrm>
            <a:off x="9331325" y="3256342"/>
            <a:ext cx="254000" cy="423717"/>
          </a:xfrm>
          <a:prstGeom prst="rect">
            <a:avLst/>
          </a:prstGeom>
          <a:solidFill>
            <a:srgbClr val="F29A00">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126" name="Rechteck 125"/>
          <p:cNvSpPr/>
          <p:nvPr/>
        </p:nvSpPr>
        <p:spPr>
          <a:xfrm>
            <a:off x="9331325" y="2832625"/>
            <a:ext cx="254000" cy="423717"/>
          </a:xfrm>
          <a:prstGeom prst="rect">
            <a:avLst/>
          </a:prstGeom>
          <a:solidFill>
            <a:srgbClr val="F29A00">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127" name="Rechteck 126"/>
          <p:cNvSpPr/>
          <p:nvPr/>
        </p:nvSpPr>
        <p:spPr>
          <a:xfrm>
            <a:off x="9331325" y="2411268"/>
            <a:ext cx="254000" cy="423717"/>
          </a:xfrm>
          <a:prstGeom prst="rect">
            <a:avLst/>
          </a:prstGeom>
          <a:solidFill>
            <a:srgbClr val="F29A00">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128" name="Rechteck 127"/>
          <p:cNvSpPr/>
          <p:nvPr/>
        </p:nvSpPr>
        <p:spPr>
          <a:xfrm>
            <a:off x="9331325" y="1987550"/>
            <a:ext cx="254000" cy="423717"/>
          </a:xfrm>
          <a:prstGeom prst="rect">
            <a:avLst/>
          </a:prstGeom>
          <a:solidFill>
            <a:srgbClr val="F29A00">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4" name="Rechteck 3"/>
          <p:cNvSpPr/>
          <p:nvPr/>
        </p:nvSpPr>
        <p:spPr>
          <a:xfrm>
            <a:off x="867441" y="1472263"/>
            <a:ext cx="2744566" cy="4424188"/>
          </a:xfrm>
          <a:prstGeom prst="rect">
            <a:avLst/>
          </a:prstGeom>
          <a:solidFill>
            <a:schemeClr val="accent2"/>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en-US" dirty="0" smtClean="0">
                <a:solidFill>
                  <a:srgbClr val="FFFFFF"/>
                </a:solidFill>
              </a:rPr>
              <a:t>Global</a:t>
            </a:r>
          </a:p>
          <a:p>
            <a:pPr algn="ctr"/>
            <a:r>
              <a:rPr lang="en-US" dirty="0" smtClean="0">
                <a:solidFill>
                  <a:srgbClr val="FFFFFF"/>
                </a:solidFill>
              </a:rPr>
              <a:t>subscription journal budget</a:t>
            </a:r>
          </a:p>
          <a:p>
            <a:pPr algn="ctr"/>
            <a:r>
              <a:rPr lang="en-US" dirty="0" smtClean="0">
                <a:solidFill>
                  <a:srgbClr val="FFFFFF"/>
                </a:solidFill>
              </a:rPr>
              <a:t>7.6 </a:t>
            </a:r>
            <a:r>
              <a:rPr lang="en-US" dirty="0" err="1" smtClean="0">
                <a:solidFill>
                  <a:srgbClr val="FFFFFF"/>
                </a:solidFill>
              </a:rPr>
              <a:t>bn</a:t>
            </a:r>
            <a:r>
              <a:rPr lang="en-US" dirty="0" smtClean="0">
                <a:solidFill>
                  <a:srgbClr val="FFFFFF"/>
                </a:solidFill>
              </a:rPr>
              <a:t> EUR p.a.</a:t>
            </a:r>
          </a:p>
          <a:p>
            <a:pPr algn="ctr"/>
            <a:r>
              <a:rPr lang="en-US" dirty="0" smtClean="0">
                <a:solidFill>
                  <a:srgbClr val="FFFFFF"/>
                </a:solidFill>
              </a:rPr>
              <a:t> </a:t>
            </a:r>
            <a:br>
              <a:rPr lang="en-US" dirty="0" smtClean="0">
                <a:solidFill>
                  <a:srgbClr val="FFFFFF"/>
                </a:solidFill>
              </a:rPr>
            </a:br>
            <a:r>
              <a:rPr lang="en-US" dirty="0" smtClean="0">
                <a:solidFill>
                  <a:srgbClr val="FFFFFF"/>
                </a:solidFill>
              </a:rPr>
              <a:t>(≥3,800 EUR/article)</a:t>
            </a:r>
            <a:endParaRPr lang="en-US" sz="1600" dirty="0" smtClean="0">
              <a:solidFill>
                <a:srgbClr val="FFFFFF"/>
              </a:solidFill>
            </a:endParaRPr>
          </a:p>
        </p:txBody>
      </p:sp>
    </p:spTree>
    <p:extLst>
      <p:ext uri="{BB962C8B-B14F-4D97-AF65-F5344CB8AC3E}">
        <p14:creationId xmlns:p14="http://schemas.microsoft.com/office/powerpoint/2010/main" val="3700410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childTnLst>
                          </p:cTn>
                        </p:par>
                        <p:par>
                          <p:cTn id="7" fill="hold">
                            <p:stCondLst>
                              <p:cond delay="0"/>
                            </p:stCondLst>
                            <p:childTnLst>
                              <p:par>
                                <p:cTn id="8" presetID="22" presetClass="entr" presetSubtype="8" fill="hold" grpId="0" nodeType="after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wipe(left)">
                                      <p:cBhvr>
                                        <p:cTn id="10" dur="500"/>
                                        <p:tgtEl>
                                          <p:spTgt spid="49"/>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0"/>
                                        </p:tgtEl>
                                        <p:attrNameLst>
                                          <p:attrName>style.visibility</p:attrName>
                                        </p:attrNameLst>
                                      </p:cBhvr>
                                      <p:to>
                                        <p:strVal val="visible"/>
                                      </p:to>
                                    </p:set>
                                    <p:animEffect transition="in" filter="wipe(left)">
                                      <p:cBhvr>
                                        <p:cTn id="14" dur="500"/>
                                        <p:tgtEl>
                                          <p:spTgt spid="50"/>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wipe(left)">
                                      <p:cBhvr>
                                        <p:cTn id="18" dur="500"/>
                                        <p:tgtEl>
                                          <p:spTgt spid="51"/>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wipe(left)">
                                      <p:cBhvr>
                                        <p:cTn id="22" dur="500"/>
                                        <p:tgtEl>
                                          <p:spTgt spid="52"/>
                                        </p:tgtEl>
                                      </p:cBhvr>
                                    </p:animEffect>
                                  </p:childTnLst>
                                </p:cTn>
                              </p:par>
                            </p:childTnLst>
                          </p:cTn>
                        </p:par>
                        <p:par>
                          <p:cTn id="23" fill="hold">
                            <p:stCondLst>
                              <p:cond delay="2000"/>
                            </p:stCondLst>
                            <p:childTnLst>
                              <p:par>
                                <p:cTn id="24" presetID="22" presetClass="entr" presetSubtype="8" fill="hold" grpId="0" nodeType="afterEffect">
                                  <p:stCondLst>
                                    <p:cond delay="0"/>
                                  </p:stCondLst>
                                  <p:childTnLst>
                                    <p:set>
                                      <p:cBhvr>
                                        <p:cTn id="25" dur="1" fill="hold">
                                          <p:stCondLst>
                                            <p:cond delay="0"/>
                                          </p:stCondLst>
                                        </p:cTn>
                                        <p:tgtEl>
                                          <p:spTgt spid="53"/>
                                        </p:tgtEl>
                                        <p:attrNameLst>
                                          <p:attrName>style.visibility</p:attrName>
                                        </p:attrNameLst>
                                      </p:cBhvr>
                                      <p:to>
                                        <p:strVal val="visible"/>
                                      </p:to>
                                    </p:set>
                                    <p:animEffect transition="in" filter="wipe(left)">
                                      <p:cBhvr>
                                        <p:cTn id="26" dur="500"/>
                                        <p:tgtEl>
                                          <p:spTgt spid="53"/>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wipe(down)">
                                      <p:cBhvr>
                                        <p:cTn id="29" dur="500"/>
                                        <p:tgtEl>
                                          <p:spTgt spid="37"/>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wipe(down)">
                                      <p:cBhvr>
                                        <p:cTn id="32" dur="500"/>
                                        <p:tgtEl>
                                          <p:spTgt spid="77"/>
                                        </p:tgtEl>
                                      </p:cBhvr>
                                    </p:animEffect>
                                  </p:childTnLst>
                                </p:cTn>
                              </p:par>
                              <p:par>
                                <p:cTn id="33" presetID="22" presetClass="exit" presetSubtype="1" fill="hold" grpId="0" nodeType="withEffect">
                                  <p:stCondLst>
                                    <p:cond delay="0"/>
                                  </p:stCondLst>
                                  <p:childTnLst>
                                    <p:animEffect transition="out" filter="wipe(up)">
                                      <p:cBhvr>
                                        <p:cTn id="34" dur="500"/>
                                        <p:tgtEl>
                                          <p:spTgt spid="4"/>
                                        </p:tgtEl>
                                      </p:cBhvr>
                                    </p:animEffect>
                                    <p:set>
                                      <p:cBhvr>
                                        <p:cTn id="35" dur="1" fill="hold">
                                          <p:stCondLst>
                                            <p:cond delay="499"/>
                                          </p:stCondLst>
                                        </p:cTn>
                                        <p:tgtEl>
                                          <p:spTgt spid="4"/>
                                        </p:tgtEl>
                                        <p:attrNameLst>
                                          <p:attrName>style.visibility</p:attrName>
                                        </p:attrNameLst>
                                      </p:cBhvr>
                                      <p:to>
                                        <p:strVal val="hidden"/>
                                      </p:to>
                                    </p:set>
                                  </p:childTnLst>
                                </p:cTn>
                              </p:par>
                              <p:par>
                                <p:cTn id="36" presetID="22" presetClass="exit" presetSubtype="1" fill="hold" grpId="0" nodeType="withEffect">
                                  <p:stCondLst>
                                    <p:cond delay="0"/>
                                  </p:stCondLst>
                                  <p:childTnLst>
                                    <p:animEffect transition="out" filter="wipe(up)">
                                      <p:cBhvr>
                                        <p:cTn id="37" dur="500"/>
                                        <p:tgtEl>
                                          <p:spTgt spid="23"/>
                                        </p:tgtEl>
                                      </p:cBhvr>
                                    </p:animEffect>
                                    <p:set>
                                      <p:cBhvr>
                                        <p:cTn id="38" dur="1" fill="hold">
                                          <p:stCondLst>
                                            <p:cond delay="499"/>
                                          </p:stCondLst>
                                        </p:cTn>
                                        <p:tgtEl>
                                          <p:spTgt spid="23"/>
                                        </p:tgtEl>
                                        <p:attrNameLst>
                                          <p:attrName>style.visibility</p:attrName>
                                        </p:attrNameLst>
                                      </p:cBhvr>
                                      <p:to>
                                        <p:strVal val="hidden"/>
                                      </p:to>
                                    </p:se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57"/>
                                        </p:tgtEl>
                                        <p:attrNameLst>
                                          <p:attrName>style.visibility</p:attrName>
                                        </p:attrNameLst>
                                      </p:cBhvr>
                                      <p:to>
                                        <p:strVal val="visible"/>
                                      </p:to>
                                    </p:set>
                                    <p:animEffect transition="in" filter="fade">
                                      <p:cBhvr>
                                        <p:cTn id="42" dur="500"/>
                                        <p:tgtEl>
                                          <p:spTgt spid="57"/>
                                        </p:tgtEl>
                                      </p:cBhvr>
                                    </p:animEffect>
                                  </p:childTnLst>
                                </p:cTn>
                              </p:par>
                              <p:par>
                                <p:cTn id="43" presetID="22" presetClass="entr" presetSubtype="4" fill="hold" grpId="0" nodeType="with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wipe(down)">
                                      <p:cBhvr>
                                        <p:cTn id="45" dur="500"/>
                                        <p:tgtEl>
                                          <p:spTgt spid="7"/>
                                        </p:tgtEl>
                                      </p:cBhvr>
                                    </p:animEffect>
                                  </p:childTnLst>
                                </p:cTn>
                              </p:par>
                            </p:childTnLst>
                          </p:cTn>
                        </p:par>
                        <p:par>
                          <p:cTn id="46" fill="hold">
                            <p:stCondLst>
                              <p:cond delay="3000"/>
                            </p:stCondLst>
                            <p:childTnLst>
                              <p:par>
                                <p:cTn id="47" presetID="1" presetClass="entr" presetSubtype="0" fill="hold" grpId="0" nodeType="afterEffect">
                                  <p:stCondLst>
                                    <p:cond delay="500"/>
                                  </p:stCondLst>
                                  <p:childTnLst>
                                    <p:set>
                                      <p:cBhvr>
                                        <p:cTn id="48" dur="1" fill="hold">
                                          <p:stCondLst>
                                            <p:cond delay="0"/>
                                          </p:stCondLst>
                                        </p:cTn>
                                        <p:tgtEl>
                                          <p:spTgt spid="3"/>
                                        </p:tgtEl>
                                        <p:attrNameLst>
                                          <p:attrName>style.visibility</p:attrName>
                                        </p:attrNameLst>
                                      </p:cBhvr>
                                      <p:to>
                                        <p:strVal val="visible"/>
                                      </p:to>
                                    </p:set>
                                  </p:childTnLst>
                                </p:cTn>
                              </p:par>
                            </p:childTnLst>
                          </p:cTn>
                        </p:par>
                        <p:par>
                          <p:cTn id="49" fill="hold">
                            <p:stCondLst>
                              <p:cond delay="3500"/>
                            </p:stCondLst>
                            <p:childTnLst>
                              <p:par>
                                <p:cTn id="50" presetID="1" presetClass="entr" presetSubtype="0" fill="hold" grpId="0" nodeType="afterEffect">
                                  <p:stCondLst>
                                    <p:cond delay="500"/>
                                  </p:stCondLst>
                                  <p:childTnLst>
                                    <p:set>
                                      <p:cBhvr>
                                        <p:cTn id="51" dur="1" fill="hold">
                                          <p:stCondLst>
                                            <p:cond delay="0"/>
                                          </p:stCondLst>
                                        </p:cTn>
                                        <p:tgtEl>
                                          <p:spTgt spid="126"/>
                                        </p:tgtEl>
                                        <p:attrNameLst>
                                          <p:attrName>style.visibility</p:attrName>
                                        </p:attrNameLst>
                                      </p:cBhvr>
                                      <p:to>
                                        <p:strVal val="visible"/>
                                      </p:to>
                                    </p:set>
                                  </p:childTnLst>
                                </p:cTn>
                              </p:par>
                            </p:childTnLst>
                          </p:cTn>
                        </p:par>
                        <p:par>
                          <p:cTn id="52" fill="hold">
                            <p:stCondLst>
                              <p:cond delay="4000"/>
                            </p:stCondLst>
                            <p:childTnLst>
                              <p:par>
                                <p:cTn id="53" presetID="1" presetClass="entr" presetSubtype="0" fill="hold" grpId="0" nodeType="afterEffect">
                                  <p:stCondLst>
                                    <p:cond delay="700"/>
                                  </p:stCondLst>
                                  <p:childTnLst>
                                    <p:set>
                                      <p:cBhvr>
                                        <p:cTn id="54" dur="1" fill="hold">
                                          <p:stCondLst>
                                            <p:cond delay="0"/>
                                          </p:stCondLst>
                                        </p:cTn>
                                        <p:tgtEl>
                                          <p:spTgt spid="127"/>
                                        </p:tgtEl>
                                        <p:attrNameLst>
                                          <p:attrName>style.visibility</p:attrName>
                                        </p:attrNameLst>
                                      </p:cBhvr>
                                      <p:to>
                                        <p:strVal val="visible"/>
                                      </p:to>
                                    </p:set>
                                  </p:childTnLst>
                                </p:cTn>
                              </p:par>
                            </p:childTnLst>
                          </p:cTn>
                        </p:par>
                        <p:par>
                          <p:cTn id="55" fill="hold">
                            <p:stCondLst>
                              <p:cond delay="4700"/>
                            </p:stCondLst>
                            <p:childTnLst>
                              <p:par>
                                <p:cTn id="56" presetID="1" presetClass="entr" presetSubtype="0" fill="hold" grpId="0" nodeType="afterEffect">
                                  <p:stCondLst>
                                    <p:cond delay="1200"/>
                                  </p:stCondLst>
                                  <p:childTnLst>
                                    <p:set>
                                      <p:cBhvr>
                                        <p:cTn id="57" dur="1" fill="hold">
                                          <p:stCondLst>
                                            <p:cond delay="0"/>
                                          </p:stCondLst>
                                        </p:cTn>
                                        <p:tgtEl>
                                          <p:spTgt spid="128"/>
                                        </p:tgtEl>
                                        <p:attrNameLst>
                                          <p:attrName>style.visibility</p:attrName>
                                        </p:attrNameLst>
                                      </p:cBhvr>
                                      <p:to>
                                        <p:strVal val="visible"/>
                                      </p:to>
                                    </p:set>
                                  </p:childTnLst>
                                </p:cTn>
                              </p:par>
                            </p:childTnLst>
                          </p:cTn>
                        </p:par>
                        <p:par>
                          <p:cTn id="58" fill="hold">
                            <p:stCondLst>
                              <p:cond delay="5900"/>
                            </p:stCondLst>
                            <p:childTnLst>
                              <p:par>
                                <p:cTn id="59" presetID="1" presetClass="entr" presetSubtype="0" fill="hold" grpId="0" nodeType="afterEffect">
                                  <p:stCondLst>
                                    <p:cond delay="1000"/>
                                  </p:stCondLst>
                                  <p:childTnLst>
                                    <p:set>
                                      <p:cBhvr>
                                        <p:cTn id="60" dur="1" fill="hold">
                                          <p:stCondLst>
                                            <p:cond delay="0"/>
                                          </p:stCondLst>
                                        </p:cTn>
                                        <p:tgtEl>
                                          <p:spTgt spid="1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23" grpId="0" animBg="1"/>
      <p:bldP spid="77" grpId="0" animBg="1"/>
      <p:bldP spid="49" grpId="0" animBg="1"/>
      <p:bldP spid="50" grpId="0" animBg="1"/>
      <p:bldP spid="51" grpId="0" animBg="1"/>
      <p:bldP spid="52" grpId="0" animBg="1"/>
      <p:bldP spid="53" grpId="0" animBg="1"/>
      <p:bldP spid="57" grpId="0" animBg="1"/>
      <p:bldP spid="7" grpId="0" animBg="1"/>
      <p:bldP spid="37" grpId="0" animBg="1"/>
      <p:bldP spid="125" grpId="0" animBg="1"/>
      <p:bldP spid="3" grpId="0" animBg="1"/>
      <p:bldP spid="126" grpId="0" animBg="1"/>
      <p:bldP spid="127" grpId="0" animBg="1"/>
      <p:bldP spid="128" grpId="0" animBg="1"/>
      <p:bldP spid="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p:cNvSpPr>
            <a:spLocks noGrp="1"/>
          </p:cNvSpPr>
          <p:nvPr>
            <p:ph type="body" sz="quarter" idx="13"/>
          </p:nvPr>
        </p:nvSpPr>
        <p:spPr>
          <a:xfrm>
            <a:off x="302342" y="426278"/>
            <a:ext cx="7289326" cy="697671"/>
          </a:xfrm>
        </p:spPr>
        <p:txBody>
          <a:bodyPr/>
          <a:lstStyle/>
          <a:p>
            <a:r>
              <a:rPr lang="de-DE" dirty="0" smtClean="0"/>
              <a:t>Programmatische Verankerung im </a:t>
            </a:r>
            <a:r>
              <a:rPr lang="en-US" dirty="0" smtClean="0"/>
              <a:t>White Paper 2015</a:t>
            </a:r>
            <a:endParaRPr lang="en-US" dirty="0"/>
          </a:p>
        </p:txBody>
      </p:sp>
      <p:sp>
        <p:nvSpPr>
          <p:cNvPr id="9" name="Inhaltsplatzhalter 8"/>
          <p:cNvSpPr>
            <a:spLocks noGrp="1"/>
          </p:cNvSpPr>
          <p:nvPr>
            <p:ph idx="1"/>
          </p:nvPr>
        </p:nvSpPr>
        <p:spPr>
          <a:xfrm>
            <a:off x="1212815" y="1600199"/>
            <a:ext cx="8586925" cy="3031599"/>
          </a:xfrm>
        </p:spPr>
        <p:txBody>
          <a:bodyPr/>
          <a:lstStyle/>
          <a:p>
            <a:pPr>
              <a:lnSpc>
                <a:spcPct val="150000"/>
              </a:lnSpc>
            </a:pPr>
            <a:r>
              <a:rPr lang="en-US" b="1" dirty="0"/>
              <a:t>“The time is ripe for the global research community to accelerate the transition to </a:t>
            </a:r>
            <a:endParaRPr lang="en-US" b="1" dirty="0" smtClean="0"/>
          </a:p>
          <a:p>
            <a:pPr algn="ctr">
              <a:lnSpc>
                <a:spcPct val="150000"/>
              </a:lnSpc>
            </a:pPr>
            <a:r>
              <a:rPr lang="en-US" b="1" spc="600" dirty="0" smtClean="0">
                <a:solidFill>
                  <a:schemeClr val="accent4"/>
                </a:solidFill>
              </a:rPr>
              <a:t>open </a:t>
            </a:r>
            <a:r>
              <a:rPr lang="en-US" b="1" spc="600" dirty="0">
                <a:solidFill>
                  <a:schemeClr val="accent4"/>
                </a:solidFill>
              </a:rPr>
              <a:t>access</a:t>
            </a:r>
            <a:r>
              <a:rPr lang="en-US" b="1" spc="600" dirty="0" smtClean="0">
                <a:solidFill>
                  <a:schemeClr val="accent4"/>
                </a:solidFill>
              </a:rPr>
              <a:t>.</a:t>
            </a:r>
          </a:p>
          <a:p>
            <a:pPr>
              <a:lnSpc>
                <a:spcPct val="150000"/>
              </a:lnSpc>
            </a:pPr>
            <a:r>
              <a:rPr lang="en-US" dirty="0" smtClean="0"/>
              <a:t>We </a:t>
            </a:r>
            <a:r>
              <a:rPr lang="en-US" dirty="0"/>
              <a:t>have the crucial opportunity to transform the underlying business model of journal publishing while protecting the financial viability and core functionalities of the publishing system at large. Ultimately, all subscription spending must be stopped: this is the simple culmination of the incremental steps of the </a:t>
            </a:r>
            <a:r>
              <a:rPr lang="en-US" dirty="0" smtClean="0"/>
              <a:t>past </a:t>
            </a:r>
            <a:r>
              <a:rPr lang="en-US" dirty="0"/>
              <a:t>decade. </a:t>
            </a:r>
            <a:endParaRPr lang="en-US" dirty="0" smtClean="0"/>
          </a:p>
          <a:p>
            <a:pPr>
              <a:lnSpc>
                <a:spcPct val="150000"/>
              </a:lnSpc>
            </a:pPr>
            <a:r>
              <a:rPr lang="en-US" dirty="0" smtClean="0"/>
              <a:t>The </a:t>
            </a:r>
            <a:r>
              <a:rPr lang="en-US" dirty="0"/>
              <a:t>significant savings can then be reinvested for the co-creation of a range of publishing services that will truly serve the scholarly endeavors of the </a:t>
            </a:r>
            <a:r>
              <a:rPr lang="en-US" dirty="0" smtClean="0"/>
              <a:t>21</a:t>
            </a:r>
            <a:r>
              <a:rPr lang="en-US" baseline="30000" dirty="0" smtClean="0"/>
              <a:t>st</a:t>
            </a:r>
            <a:r>
              <a:rPr lang="en-US" dirty="0" smtClean="0"/>
              <a:t> </a:t>
            </a:r>
            <a:r>
              <a:rPr lang="en-US" dirty="0"/>
              <a:t>century</a:t>
            </a:r>
            <a:r>
              <a:rPr lang="en-US" dirty="0" smtClean="0"/>
              <a:t>.”</a:t>
            </a:r>
            <a:endParaRPr lang="de-DE" sz="1000" dirty="0"/>
          </a:p>
        </p:txBody>
      </p:sp>
      <p:sp>
        <p:nvSpPr>
          <p:cNvPr id="12" name="Inhaltsplatzhalter 8"/>
          <p:cNvSpPr txBox="1">
            <a:spLocks/>
          </p:cNvSpPr>
          <p:nvPr/>
        </p:nvSpPr>
        <p:spPr>
          <a:xfrm>
            <a:off x="194338" y="5405046"/>
            <a:ext cx="9183929" cy="1225977"/>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606060"/>
              </a:buClr>
            </a:pPr>
            <a:r>
              <a:rPr lang="en-US" sz="1400" dirty="0" smtClean="0">
                <a:solidFill>
                  <a:srgbClr val="606060"/>
                </a:solidFill>
              </a:rPr>
              <a:t>taken from: Max Planck Digital Library Open Access Policy White Paper: “Disrupting the subscription journals’ business model for the necessary large-scale transformation to open access”. </a:t>
            </a:r>
            <a:r>
              <a:rPr lang="en-US" sz="1400" dirty="0" smtClean="0">
                <a:solidFill>
                  <a:srgbClr val="606060"/>
                </a:solidFill>
                <a:hlinkClick r:id="rId2"/>
              </a:rPr>
              <a:t>http://dx.doi.org/10.17617/1.3</a:t>
            </a:r>
            <a:r>
              <a:rPr lang="en-US" sz="1400" dirty="0" smtClean="0">
                <a:solidFill>
                  <a:srgbClr val="606060"/>
                </a:solidFill>
              </a:rPr>
              <a:t> (28 April 2015)</a:t>
            </a:r>
          </a:p>
          <a:p>
            <a:pPr>
              <a:buClr>
                <a:srgbClr val="606060"/>
              </a:buClr>
            </a:pPr>
            <a:r>
              <a:rPr lang="en-US" sz="800" dirty="0" smtClean="0">
                <a:solidFill>
                  <a:srgbClr val="606060"/>
                </a:solidFill>
              </a:rPr>
              <a:t/>
            </a:r>
            <a:br>
              <a:rPr lang="en-US" sz="800" dirty="0" smtClean="0">
                <a:solidFill>
                  <a:srgbClr val="606060"/>
                </a:solidFill>
              </a:rPr>
            </a:br>
            <a:r>
              <a:rPr lang="en-US" sz="1400" dirty="0" smtClean="0">
                <a:solidFill>
                  <a:srgbClr val="606060"/>
                </a:solidFill>
              </a:rPr>
              <a:t>accompanying data publication: “Number of scholarly articles per country. Data on Web of Science listed articles and reviews 2004-2013”. </a:t>
            </a:r>
            <a:r>
              <a:rPr lang="en-US" sz="1400" u="sng" dirty="0" smtClean="0">
                <a:solidFill>
                  <a:srgbClr val="606060"/>
                </a:solidFill>
                <a:hlinkClick r:id="rId3"/>
              </a:rPr>
              <a:t>http://dx.doi.org/10.17617/1.2</a:t>
            </a:r>
            <a:r>
              <a:rPr lang="en-US" sz="1400" dirty="0" smtClean="0">
                <a:solidFill>
                  <a:srgbClr val="606060"/>
                </a:solidFill>
              </a:rPr>
              <a:t> (28 April 2015)</a:t>
            </a:r>
            <a:endParaRPr lang="de-DE" sz="1400" dirty="0">
              <a:solidFill>
                <a:srgbClr val="606060"/>
              </a:solidFill>
            </a:endParaRPr>
          </a:p>
        </p:txBody>
      </p:sp>
      <p:sp>
        <p:nvSpPr>
          <p:cNvPr id="14" name="Foliennummernplatzhalter 13"/>
          <p:cNvSpPr>
            <a:spLocks noGrp="1"/>
          </p:cNvSpPr>
          <p:nvPr>
            <p:ph type="sldNum" sz="quarter" idx="12"/>
          </p:nvPr>
        </p:nvSpPr>
        <p:spPr/>
        <p:txBody>
          <a:bodyPr/>
          <a:lstStyle/>
          <a:p>
            <a:fld id="{4AD1E780-DE1C-4ECA-B5E5-863D0BC53287}" type="slidenum">
              <a:rPr lang="de-DE" smtClean="0">
                <a:solidFill>
                  <a:prstClr val="black">
                    <a:tint val="75000"/>
                  </a:prstClr>
                </a:solidFill>
              </a:rPr>
              <a:pPr/>
              <a:t>14</a:t>
            </a:fld>
            <a:endParaRPr lang="de-DE" dirty="0">
              <a:solidFill>
                <a:prstClr val="black">
                  <a:tint val="75000"/>
                </a:prstClr>
              </a:solidFill>
            </a:endParaRPr>
          </a:p>
        </p:txBody>
      </p:sp>
      <p:grpSp>
        <p:nvGrpSpPr>
          <p:cNvPr id="15" name="Gruppieren 14"/>
          <p:cNvGrpSpPr/>
          <p:nvPr/>
        </p:nvGrpSpPr>
        <p:grpSpPr>
          <a:xfrm rot="5400000">
            <a:off x="-627576" y="2628403"/>
            <a:ext cx="2072913" cy="847988"/>
            <a:chOff x="-356229" y="2030292"/>
            <a:chExt cx="2072913" cy="847988"/>
          </a:xfrm>
        </p:grpSpPr>
        <p:cxnSp>
          <p:nvCxnSpPr>
            <p:cNvPr id="16" name="Gerade Verbindung 15"/>
            <p:cNvCxnSpPr/>
            <p:nvPr/>
          </p:nvCxnSpPr>
          <p:spPr>
            <a:xfrm flipH="1">
              <a:off x="-356229" y="2030292"/>
              <a:ext cx="854294" cy="847988"/>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rot="16200000">
              <a:off x="1103658" y="1417265"/>
              <a:ext cx="0" cy="122605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8" name="Gruppieren 17"/>
          <p:cNvGrpSpPr/>
          <p:nvPr/>
        </p:nvGrpSpPr>
        <p:grpSpPr>
          <a:xfrm rot="10800000">
            <a:off x="7591669" y="4332494"/>
            <a:ext cx="2072913" cy="847988"/>
            <a:chOff x="7732589" y="5426048"/>
            <a:chExt cx="2072913" cy="847988"/>
          </a:xfrm>
        </p:grpSpPr>
        <p:cxnSp>
          <p:nvCxnSpPr>
            <p:cNvPr id="19" name="Gerade Verbindung 18"/>
            <p:cNvCxnSpPr/>
            <p:nvPr/>
          </p:nvCxnSpPr>
          <p:spPr>
            <a:xfrm flipH="1">
              <a:off x="7732589" y="5426048"/>
              <a:ext cx="854294" cy="847988"/>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rot="16200000">
              <a:off x="9192476" y="4813021"/>
              <a:ext cx="0" cy="122605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803844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extplatzhalter 75"/>
          <p:cNvSpPr>
            <a:spLocks noGrp="1"/>
          </p:cNvSpPr>
          <p:nvPr>
            <p:ph type="body" sz="quarter" idx="13"/>
          </p:nvPr>
        </p:nvSpPr>
        <p:spPr>
          <a:xfrm>
            <a:off x="302341" y="426278"/>
            <a:ext cx="7445995" cy="697671"/>
          </a:xfrm>
        </p:spPr>
        <p:txBody>
          <a:bodyPr/>
          <a:lstStyle/>
          <a:p>
            <a:r>
              <a:rPr lang="de-DE" dirty="0" smtClean="0"/>
              <a:t>Der Weg aus dem Dilemma als geordneter Übergang</a:t>
            </a:r>
            <a:endParaRPr lang="de-DE" dirty="0"/>
          </a:p>
        </p:txBody>
      </p:sp>
      <p:sp>
        <p:nvSpPr>
          <p:cNvPr id="3" name="Rechteck 2"/>
          <p:cNvSpPr/>
          <p:nvPr/>
        </p:nvSpPr>
        <p:spPr>
          <a:xfrm>
            <a:off x="1704442" y="2567643"/>
            <a:ext cx="6999557" cy="2862322"/>
          </a:xfrm>
          <a:prstGeom prst="rect">
            <a:avLst/>
          </a:prstGeom>
        </p:spPr>
        <p:txBody>
          <a:bodyPr wrap="square">
            <a:spAutoFit/>
          </a:bodyPr>
          <a:lstStyle/>
          <a:p>
            <a:pPr>
              <a:lnSpc>
                <a:spcPct val="150000"/>
              </a:lnSpc>
            </a:pPr>
            <a:r>
              <a:rPr lang="de-DE" sz="2400" b="1" dirty="0" smtClean="0">
                <a:solidFill>
                  <a:srgbClr val="7F7F7F"/>
                </a:solidFill>
              </a:rPr>
              <a:t>Open Access im großen Maßstab</a:t>
            </a:r>
            <a:r>
              <a:rPr lang="de-DE" sz="2400" dirty="0" smtClean="0">
                <a:solidFill>
                  <a:srgbClr val="7F7F7F"/>
                </a:solidFill>
              </a:rPr>
              <a:t/>
            </a:r>
            <a:br>
              <a:rPr lang="de-DE" sz="2400" dirty="0" smtClean="0">
                <a:solidFill>
                  <a:srgbClr val="7F7F7F"/>
                </a:solidFill>
              </a:rPr>
            </a:br>
            <a:r>
              <a:rPr lang="de-DE" sz="2400" dirty="0" smtClean="0">
                <a:solidFill>
                  <a:srgbClr val="7F7F7F"/>
                </a:solidFill>
              </a:rPr>
              <a:t>lässt sich nur durch eine Umstellung des Geschäftsmodells des herrschenden Subskriptionswesens erreichen. Die Zeitschriften und die Finanzströme müssen umgestellt werden.</a:t>
            </a:r>
          </a:p>
        </p:txBody>
      </p:sp>
      <p:sp>
        <p:nvSpPr>
          <p:cNvPr id="8" name="Foliennummernplatzhalter 4"/>
          <p:cNvSpPr>
            <a:spLocks noGrp="1"/>
          </p:cNvSpPr>
          <p:nvPr>
            <p:ph type="sldNum" sz="quarter" idx="12"/>
          </p:nvPr>
        </p:nvSpPr>
        <p:spPr>
          <a:xfrm>
            <a:off x="8931442" y="6659477"/>
            <a:ext cx="773912" cy="167164"/>
          </a:xfrm>
        </p:spPr>
        <p:txBody>
          <a:bodyPr/>
          <a:lstStyle/>
          <a:p>
            <a:fld id="{4AD1E780-DE1C-4ECA-B5E5-863D0BC53287}" type="slidenum">
              <a:rPr lang="de-DE" smtClean="0">
                <a:solidFill>
                  <a:prstClr val="black">
                    <a:tint val="75000"/>
                  </a:prstClr>
                </a:solidFill>
              </a:rPr>
              <a:pPr/>
              <a:t>15</a:t>
            </a:fld>
            <a:endParaRPr lang="de-DE" dirty="0">
              <a:solidFill>
                <a:prstClr val="black">
                  <a:tint val="75000"/>
                </a:prstClr>
              </a:solidFill>
            </a:endParaRPr>
          </a:p>
        </p:txBody>
      </p:sp>
      <p:cxnSp>
        <p:nvCxnSpPr>
          <p:cNvPr id="9" name="Gerade Verbindung 8"/>
          <p:cNvCxnSpPr/>
          <p:nvPr/>
        </p:nvCxnSpPr>
        <p:spPr>
          <a:xfrm rot="5400000" flipH="1">
            <a:off x="1899446" y="1970923"/>
            <a:ext cx="0" cy="122605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 name="Gruppieren 10"/>
          <p:cNvGrpSpPr/>
          <p:nvPr/>
        </p:nvGrpSpPr>
        <p:grpSpPr>
          <a:xfrm>
            <a:off x="6805589" y="5377748"/>
            <a:ext cx="2072914" cy="847989"/>
            <a:chOff x="849262" y="3002589"/>
            <a:chExt cx="2072914" cy="847989"/>
          </a:xfrm>
        </p:grpSpPr>
        <p:cxnSp>
          <p:nvCxnSpPr>
            <p:cNvPr id="12" name="Gerade Verbindung 11"/>
            <p:cNvCxnSpPr/>
            <p:nvPr/>
          </p:nvCxnSpPr>
          <p:spPr>
            <a:xfrm rot="10800000" flipH="1">
              <a:off x="2067882" y="3002589"/>
              <a:ext cx="854294" cy="847988"/>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a:xfrm rot="5400000">
              <a:off x="1462289" y="3237551"/>
              <a:ext cx="0" cy="122605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02304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a:xfrm>
            <a:off x="0" y="0"/>
            <a:ext cx="990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 name="Foliennummernplatzhalter 1"/>
          <p:cNvSpPr>
            <a:spLocks noGrp="1"/>
          </p:cNvSpPr>
          <p:nvPr>
            <p:ph type="sldNum" sz="quarter" idx="12"/>
          </p:nvPr>
        </p:nvSpPr>
        <p:spPr/>
        <p:txBody>
          <a:bodyPr/>
          <a:lstStyle/>
          <a:p>
            <a:fld id="{4AD1E780-DE1C-4ECA-B5E5-863D0BC53287}" type="slidenum">
              <a:rPr lang="de-DE" smtClean="0"/>
              <a:pPr/>
              <a:t>16</a:t>
            </a:fld>
            <a:endParaRPr lang="de-DE" dirty="0"/>
          </a:p>
        </p:txBody>
      </p:sp>
      <p:sp>
        <p:nvSpPr>
          <p:cNvPr id="3" name="Textplatzhalter 2"/>
          <p:cNvSpPr>
            <a:spLocks noGrp="1"/>
          </p:cNvSpPr>
          <p:nvPr>
            <p:ph type="body" sz="quarter" idx="13"/>
          </p:nvPr>
        </p:nvSpPr>
        <p:spPr>
          <a:xfrm>
            <a:off x="311219" y="435158"/>
            <a:ext cx="9480486" cy="697671"/>
          </a:xfrm>
        </p:spPr>
        <p:txBody>
          <a:bodyPr anchor="t" anchorCtr="0"/>
          <a:lstStyle/>
          <a:p>
            <a:r>
              <a:rPr lang="de-DE" sz="3600" b="1" dirty="0" err="1" smtClean="0">
                <a:solidFill>
                  <a:schemeClr val="accent6"/>
                </a:solidFill>
              </a:rPr>
              <a:t>How</a:t>
            </a:r>
            <a:r>
              <a:rPr lang="de-DE" sz="3600" b="1" dirty="0" smtClean="0">
                <a:solidFill>
                  <a:schemeClr val="accent6"/>
                </a:solidFill>
              </a:rPr>
              <a:t> </a:t>
            </a:r>
            <a:r>
              <a:rPr lang="de-DE" sz="3600" b="1" dirty="0" err="1" smtClean="0">
                <a:solidFill>
                  <a:schemeClr val="accent6"/>
                </a:solidFill>
              </a:rPr>
              <a:t>can</a:t>
            </a:r>
            <a:r>
              <a:rPr lang="de-DE" sz="3600" b="1" dirty="0" smtClean="0">
                <a:solidFill>
                  <a:schemeClr val="accent6"/>
                </a:solidFill>
              </a:rPr>
              <a:t> </a:t>
            </a:r>
            <a:r>
              <a:rPr lang="de-DE" sz="3600" b="1" dirty="0" err="1" smtClean="0">
                <a:solidFill>
                  <a:schemeClr val="accent6"/>
                </a:solidFill>
              </a:rPr>
              <a:t>we</a:t>
            </a:r>
            <a:r>
              <a:rPr lang="de-DE" sz="3600" b="1" dirty="0" smtClean="0">
                <a:solidFill>
                  <a:schemeClr val="accent6"/>
                </a:solidFill>
              </a:rPr>
              <a:t> </a:t>
            </a:r>
            <a:r>
              <a:rPr lang="de-DE" sz="3600" b="1" dirty="0" err="1" smtClean="0">
                <a:solidFill>
                  <a:schemeClr val="accent6"/>
                </a:solidFill>
              </a:rPr>
              <a:t>deliver</a:t>
            </a:r>
            <a:r>
              <a:rPr lang="de-DE" sz="3600" b="1" dirty="0" smtClean="0">
                <a:solidFill>
                  <a:schemeClr val="accent6"/>
                </a:solidFill>
              </a:rPr>
              <a:t>?</a:t>
            </a:r>
          </a:p>
        </p:txBody>
      </p:sp>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48884" y="6108205"/>
            <a:ext cx="1371008" cy="636827"/>
          </a:xfrm>
          <a:prstGeom prst="rect">
            <a:avLst/>
          </a:prstGeom>
        </p:spPr>
      </p:pic>
      <p:sp>
        <p:nvSpPr>
          <p:cNvPr id="7" name="Freihandform 6"/>
          <p:cNvSpPr/>
          <p:nvPr/>
        </p:nvSpPr>
        <p:spPr>
          <a:xfrm>
            <a:off x="7648884" y="5958738"/>
            <a:ext cx="2258125" cy="60555"/>
          </a:xfrm>
          <a:custGeom>
            <a:avLst/>
            <a:gdLst>
              <a:gd name="connsiteX0" fmla="*/ 0 w 2464641"/>
              <a:gd name="connsiteY0" fmla="*/ 835677 h 835677"/>
              <a:gd name="connsiteX1" fmla="*/ 0 w 2464641"/>
              <a:gd name="connsiteY1" fmla="*/ 0 h 835677"/>
              <a:gd name="connsiteX2" fmla="*/ 2464641 w 2464641"/>
              <a:gd name="connsiteY2" fmla="*/ 0 h 835677"/>
              <a:gd name="connsiteX0" fmla="*/ 0 w 2464641"/>
              <a:gd name="connsiteY0" fmla="*/ 0 h 0"/>
              <a:gd name="connsiteX1" fmla="*/ 2464641 w 2464641"/>
              <a:gd name="connsiteY1" fmla="*/ 0 h 0"/>
            </a:gdLst>
            <a:ahLst/>
            <a:cxnLst>
              <a:cxn ang="0">
                <a:pos x="connsiteX0" y="connsiteY0"/>
              </a:cxn>
              <a:cxn ang="0">
                <a:pos x="connsiteX1" y="connsiteY1"/>
              </a:cxn>
            </a:cxnLst>
            <a:rect l="l" t="t" r="r" b="b"/>
            <a:pathLst>
              <a:path w="2464641">
                <a:moveTo>
                  <a:pt x="0" y="0"/>
                </a:moveTo>
                <a:lnTo>
                  <a:pt x="2464641" y="0"/>
                </a:lnTo>
              </a:path>
            </a:pathLst>
          </a:cu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43493731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a:xfrm>
            <a:off x="0" y="0"/>
            <a:ext cx="9906000" cy="6858000"/>
          </a:xfrm>
          <a:custGeom>
            <a:avLst/>
            <a:gdLst>
              <a:gd name="connsiteX0" fmla="*/ 0 w 9906000"/>
              <a:gd name="connsiteY0" fmla="*/ 0 h 6858000"/>
              <a:gd name="connsiteX1" fmla="*/ 9906000 w 9906000"/>
              <a:gd name="connsiteY1" fmla="*/ 0 h 6858000"/>
              <a:gd name="connsiteX2" fmla="*/ 9906000 w 9906000"/>
              <a:gd name="connsiteY2" fmla="*/ 6858000 h 6858000"/>
              <a:gd name="connsiteX3" fmla="*/ 0 w 9906000"/>
              <a:gd name="connsiteY3" fmla="*/ 6858000 h 6858000"/>
              <a:gd name="connsiteX4" fmla="*/ 0 w 9906000"/>
              <a:gd name="connsiteY4" fmla="*/ 0 h 6858000"/>
              <a:gd name="connsiteX0" fmla="*/ 0 w 9906000"/>
              <a:gd name="connsiteY0" fmla="*/ 0 h 6858000"/>
              <a:gd name="connsiteX1" fmla="*/ 9906000 w 9906000"/>
              <a:gd name="connsiteY1" fmla="*/ 0 h 6858000"/>
              <a:gd name="connsiteX2" fmla="*/ 9906000 w 9906000"/>
              <a:gd name="connsiteY2" fmla="*/ 5003975 h 6858000"/>
              <a:gd name="connsiteX3" fmla="*/ 0 w 9906000"/>
              <a:gd name="connsiteY3" fmla="*/ 6858000 h 6858000"/>
              <a:gd name="connsiteX4" fmla="*/ 0 w 99060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6858000">
                <a:moveTo>
                  <a:pt x="0" y="0"/>
                </a:moveTo>
                <a:lnTo>
                  <a:pt x="9906000" y="0"/>
                </a:lnTo>
                <a:lnTo>
                  <a:pt x="9906000" y="5003975"/>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 name="Foliennummernplatzhalter 1"/>
          <p:cNvSpPr>
            <a:spLocks noGrp="1"/>
          </p:cNvSpPr>
          <p:nvPr>
            <p:ph type="sldNum" sz="quarter" idx="12"/>
          </p:nvPr>
        </p:nvSpPr>
        <p:spPr/>
        <p:txBody>
          <a:bodyPr/>
          <a:lstStyle/>
          <a:p>
            <a:fld id="{4AD1E780-DE1C-4ECA-B5E5-863D0BC53287}" type="slidenum">
              <a:rPr lang="de-DE" smtClean="0"/>
              <a:pPr/>
              <a:t>17</a:t>
            </a:fld>
            <a:endParaRPr lang="de-DE" dirty="0"/>
          </a:p>
        </p:txBody>
      </p:sp>
      <p:sp>
        <p:nvSpPr>
          <p:cNvPr id="3" name="Textplatzhalter 2"/>
          <p:cNvSpPr>
            <a:spLocks noGrp="1"/>
          </p:cNvSpPr>
          <p:nvPr>
            <p:ph type="body" sz="quarter" idx="13"/>
          </p:nvPr>
        </p:nvSpPr>
        <p:spPr>
          <a:xfrm>
            <a:off x="311219" y="435158"/>
            <a:ext cx="9480486" cy="697671"/>
          </a:xfrm>
        </p:spPr>
        <p:txBody>
          <a:bodyPr anchor="t" anchorCtr="0"/>
          <a:lstStyle/>
          <a:p>
            <a:r>
              <a:rPr lang="de-DE" sz="3600" b="1" dirty="0" err="1" smtClean="0">
                <a:solidFill>
                  <a:schemeClr val="accent6"/>
                </a:solidFill>
              </a:rPr>
              <a:t>How</a:t>
            </a:r>
            <a:r>
              <a:rPr lang="de-DE" sz="3600" b="1" dirty="0" smtClean="0">
                <a:solidFill>
                  <a:schemeClr val="accent6"/>
                </a:solidFill>
              </a:rPr>
              <a:t> </a:t>
            </a:r>
            <a:r>
              <a:rPr lang="de-DE" sz="3600" b="1" dirty="0" err="1" smtClean="0">
                <a:solidFill>
                  <a:schemeClr val="accent6"/>
                </a:solidFill>
              </a:rPr>
              <a:t>can</a:t>
            </a:r>
            <a:r>
              <a:rPr lang="de-DE" sz="3600" b="1" dirty="0" smtClean="0">
                <a:solidFill>
                  <a:schemeClr val="accent6"/>
                </a:solidFill>
              </a:rPr>
              <a:t> </a:t>
            </a:r>
            <a:r>
              <a:rPr lang="de-DE" sz="3600" b="1" dirty="0" err="1" smtClean="0">
                <a:solidFill>
                  <a:schemeClr val="accent6"/>
                </a:solidFill>
              </a:rPr>
              <a:t>we</a:t>
            </a:r>
            <a:r>
              <a:rPr lang="de-DE" sz="3600" b="1" dirty="0" smtClean="0">
                <a:solidFill>
                  <a:schemeClr val="accent6"/>
                </a:solidFill>
              </a:rPr>
              <a:t> </a:t>
            </a:r>
            <a:r>
              <a:rPr lang="de-DE" sz="3600" b="1" dirty="0" err="1" smtClean="0">
                <a:solidFill>
                  <a:schemeClr val="accent6"/>
                </a:solidFill>
              </a:rPr>
              <a:t>deliver</a:t>
            </a:r>
            <a:r>
              <a:rPr lang="de-DE" sz="3600" b="1" dirty="0" smtClean="0">
                <a:solidFill>
                  <a:schemeClr val="accent6"/>
                </a:solidFill>
              </a:rPr>
              <a:t>?</a:t>
            </a:r>
          </a:p>
        </p:txBody>
      </p:sp>
      <p:cxnSp>
        <p:nvCxnSpPr>
          <p:cNvPr id="5" name="Gerade Verbindung 4"/>
          <p:cNvCxnSpPr>
            <a:stCxn id="6" idx="3"/>
            <a:endCxn id="6" idx="2"/>
          </p:cNvCxnSpPr>
          <p:nvPr/>
        </p:nvCxnSpPr>
        <p:spPr>
          <a:xfrm flipV="1">
            <a:off x="0" y="5003975"/>
            <a:ext cx="9906000" cy="1854025"/>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platzhalter 2"/>
          <p:cNvSpPr txBox="1">
            <a:spLocks/>
          </p:cNvSpPr>
          <p:nvPr/>
        </p:nvSpPr>
        <p:spPr>
          <a:xfrm rot="20969820">
            <a:off x="1028103" y="5054712"/>
            <a:ext cx="8885499" cy="697671"/>
          </a:xfrm>
          <a:prstGeom prst="rect">
            <a:avLst/>
          </a:prstGeom>
        </p:spPr>
        <p:txBody>
          <a:bodyPr vert="horz" wrap="square" lIns="0" tIns="0" rIns="0" bIns="0" rtlCol="0" anchor="t" anchorCtr="0">
            <a:noAutofit/>
          </a:bodyPr>
          <a:lstStyle>
            <a:lvl1pPr marL="0" indent="0" algn="l" defTabSz="914400" rtl="0" eaLnBrk="1" latinLnBrk="0" hangingPunct="1">
              <a:spcBef>
                <a:spcPts val="200"/>
              </a:spcBef>
              <a:buClr>
                <a:schemeClr val="tx2"/>
              </a:buClr>
              <a:buFont typeface="Wingdings" pitchFamily="2" charset="2"/>
              <a:buNone/>
              <a:defRPr sz="4400" b="0" kern="1200">
                <a:solidFill>
                  <a:schemeClr val="tx2"/>
                </a:solidFill>
                <a:latin typeface="+mj-lt"/>
                <a:ea typeface="+mn-ea"/>
                <a:cs typeface="+mn-cs"/>
              </a:defRPr>
            </a:lvl1pPr>
            <a:lvl2pPr marL="0" indent="0" algn="l" defTabSz="914400" rtl="0" eaLnBrk="1" latinLnBrk="0" hangingPunct="1">
              <a:spcBef>
                <a:spcPts val="200"/>
              </a:spcBef>
              <a:buClr>
                <a:schemeClr val="tx2"/>
              </a:buClr>
              <a:buFont typeface="Wingdings" pitchFamily="2" charset="2"/>
              <a:buNone/>
              <a:defRPr sz="2400" kern="1200">
                <a:solidFill>
                  <a:schemeClr val="tx2"/>
                </a:solidFill>
                <a:latin typeface="+mj-lt"/>
                <a:ea typeface="+mn-ea"/>
                <a:cs typeface="+mn-cs"/>
              </a:defRPr>
            </a:lvl2pPr>
            <a:lvl3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3pPr>
            <a:lvl4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4pPr>
            <a:lvl5pPr marL="0" indent="0" algn="l" defTabSz="914400" rtl="0" eaLnBrk="1" latinLnBrk="0" hangingPunct="1">
              <a:spcBef>
                <a:spcPts val="200"/>
              </a:spcBef>
              <a:buClr>
                <a:schemeClr val="tx2"/>
              </a:buClr>
              <a:buFont typeface="Symbol" pitchFamily="18" charset="2"/>
              <a:buNone/>
              <a:defRPr sz="2400" kern="1200">
                <a:solidFill>
                  <a:schemeClr val="tx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bg1"/>
                </a:solidFill>
              </a:rPr>
              <a:t>Archiving</a:t>
            </a:r>
            <a:r>
              <a:rPr lang="de-DE" sz="3600" b="1" dirty="0">
                <a:solidFill>
                  <a:schemeClr val="bg1"/>
                </a:solidFill>
              </a:rPr>
              <a:t>,</a:t>
            </a:r>
            <a:r>
              <a:rPr lang="de-DE" sz="3600" b="1" dirty="0" smtClean="0">
                <a:solidFill>
                  <a:schemeClr val="bg1"/>
                </a:solidFill>
              </a:rPr>
              <a:t> </a:t>
            </a:r>
            <a:r>
              <a:rPr lang="de-DE" sz="3600" b="1" dirty="0" err="1" smtClean="0">
                <a:solidFill>
                  <a:schemeClr val="bg1"/>
                </a:solidFill>
              </a:rPr>
              <a:t>Repositories</a:t>
            </a:r>
            <a:r>
              <a:rPr lang="de-DE" sz="3600" b="1" dirty="0" smtClean="0">
                <a:solidFill>
                  <a:schemeClr val="bg1"/>
                </a:solidFill>
              </a:rPr>
              <a:t>, Infrastructure</a:t>
            </a:r>
            <a:endParaRPr lang="de-DE" sz="3600" dirty="0">
              <a:solidFill>
                <a:schemeClr val="bg1"/>
              </a:solidFill>
            </a:endParaRPr>
          </a:p>
        </p:txBody>
      </p:sp>
    </p:spTree>
    <p:extLst>
      <p:ext uri="{BB962C8B-B14F-4D97-AF65-F5344CB8AC3E}">
        <p14:creationId xmlns:p14="http://schemas.microsoft.com/office/powerpoint/2010/main" val="18420004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a:xfrm>
            <a:off x="0" y="0"/>
            <a:ext cx="9906000" cy="6858000"/>
          </a:xfrm>
          <a:custGeom>
            <a:avLst/>
            <a:gdLst>
              <a:gd name="connsiteX0" fmla="*/ 0 w 9906000"/>
              <a:gd name="connsiteY0" fmla="*/ 0 h 6858000"/>
              <a:gd name="connsiteX1" fmla="*/ 9906000 w 9906000"/>
              <a:gd name="connsiteY1" fmla="*/ 0 h 6858000"/>
              <a:gd name="connsiteX2" fmla="*/ 9906000 w 9906000"/>
              <a:gd name="connsiteY2" fmla="*/ 6858000 h 6858000"/>
              <a:gd name="connsiteX3" fmla="*/ 0 w 9906000"/>
              <a:gd name="connsiteY3" fmla="*/ 6858000 h 6858000"/>
              <a:gd name="connsiteX4" fmla="*/ 0 w 9906000"/>
              <a:gd name="connsiteY4" fmla="*/ 0 h 6858000"/>
              <a:gd name="connsiteX0" fmla="*/ 0 w 9906000"/>
              <a:gd name="connsiteY0" fmla="*/ 0 h 6858000"/>
              <a:gd name="connsiteX1" fmla="*/ 9906000 w 9906000"/>
              <a:gd name="connsiteY1" fmla="*/ 0 h 6858000"/>
              <a:gd name="connsiteX2" fmla="*/ 9906000 w 9906000"/>
              <a:gd name="connsiteY2" fmla="*/ 5003975 h 6858000"/>
              <a:gd name="connsiteX3" fmla="*/ 0 w 9906000"/>
              <a:gd name="connsiteY3" fmla="*/ 6858000 h 6858000"/>
              <a:gd name="connsiteX4" fmla="*/ 0 w 9906000"/>
              <a:gd name="connsiteY4" fmla="*/ 0 h 6858000"/>
              <a:gd name="connsiteX0" fmla="*/ 0 w 9906000"/>
              <a:gd name="connsiteY0" fmla="*/ 0 h 6858000"/>
              <a:gd name="connsiteX1" fmla="*/ 9906000 w 9906000"/>
              <a:gd name="connsiteY1" fmla="*/ 0 h 6858000"/>
              <a:gd name="connsiteX2" fmla="*/ 9906000 w 9906000"/>
              <a:gd name="connsiteY2" fmla="*/ 3023826 h 6858000"/>
              <a:gd name="connsiteX3" fmla="*/ 0 w 9906000"/>
              <a:gd name="connsiteY3" fmla="*/ 6858000 h 6858000"/>
              <a:gd name="connsiteX4" fmla="*/ 0 w 99060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6858000">
                <a:moveTo>
                  <a:pt x="0" y="0"/>
                </a:moveTo>
                <a:lnTo>
                  <a:pt x="9906000" y="0"/>
                </a:lnTo>
                <a:lnTo>
                  <a:pt x="9906000" y="3023826"/>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 name="Foliennummernplatzhalter 1"/>
          <p:cNvSpPr>
            <a:spLocks noGrp="1"/>
          </p:cNvSpPr>
          <p:nvPr>
            <p:ph type="sldNum" sz="quarter" idx="12"/>
          </p:nvPr>
        </p:nvSpPr>
        <p:spPr/>
        <p:txBody>
          <a:bodyPr/>
          <a:lstStyle/>
          <a:p>
            <a:fld id="{4AD1E780-DE1C-4ECA-B5E5-863D0BC53287}" type="slidenum">
              <a:rPr lang="de-DE" smtClean="0"/>
              <a:pPr/>
              <a:t>18</a:t>
            </a:fld>
            <a:endParaRPr lang="de-DE" dirty="0"/>
          </a:p>
        </p:txBody>
      </p:sp>
      <p:sp>
        <p:nvSpPr>
          <p:cNvPr id="3" name="Textplatzhalter 2"/>
          <p:cNvSpPr>
            <a:spLocks noGrp="1"/>
          </p:cNvSpPr>
          <p:nvPr>
            <p:ph type="body" sz="quarter" idx="13"/>
          </p:nvPr>
        </p:nvSpPr>
        <p:spPr>
          <a:xfrm>
            <a:off x="302341" y="426280"/>
            <a:ext cx="9480486" cy="697671"/>
          </a:xfrm>
        </p:spPr>
        <p:txBody>
          <a:bodyPr anchor="t" anchorCtr="0"/>
          <a:lstStyle/>
          <a:p>
            <a:r>
              <a:rPr lang="de-DE" sz="3600" b="1" dirty="0" err="1" smtClean="0">
                <a:solidFill>
                  <a:schemeClr val="accent6"/>
                </a:solidFill>
              </a:rPr>
              <a:t>How</a:t>
            </a:r>
            <a:r>
              <a:rPr lang="de-DE" sz="3600" b="1" dirty="0" smtClean="0">
                <a:solidFill>
                  <a:schemeClr val="accent6"/>
                </a:solidFill>
              </a:rPr>
              <a:t> </a:t>
            </a:r>
            <a:r>
              <a:rPr lang="de-DE" sz="3600" b="1" dirty="0" err="1" smtClean="0">
                <a:solidFill>
                  <a:schemeClr val="accent6"/>
                </a:solidFill>
              </a:rPr>
              <a:t>can</a:t>
            </a:r>
            <a:r>
              <a:rPr lang="de-DE" sz="3600" b="1" dirty="0" smtClean="0">
                <a:solidFill>
                  <a:schemeClr val="accent6"/>
                </a:solidFill>
              </a:rPr>
              <a:t> </a:t>
            </a:r>
            <a:r>
              <a:rPr lang="de-DE" sz="3600" b="1" dirty="0" err="1" smtClean="0">
                <a:solidFill>
                  <a:schemeClr val="accent6"/>
                </a:solidFill>
              </a:rPr>
              <a:t>we</a:t>
            </a:r>
            <a:r>
              <a:rPr lang="de-DE" sz="3600" b="1" dirty="0" smtClean="0">
                <a:solidFill>
                  <a:schemeClr val="accent6"/>
                </a:solidFill>
              </a:rPr>
              <a:t> </a:t>
            </a:r>
            <a:r>
              <a:rPr lang="de-DE" sz="3600" b="1" dirty="0" err="1" smtClean="0">
                <a:solidFill>
                  <a:schemeClr val="accent6"/>
                </a:solidFill>
              </a:rPr>
              <a:t>deliver</a:t>
            </a:r>
            <a:r>
              <a:rPr lang="de-DE" sz="3600" b="1" dirty="0" smtClean="0">
                <a:solidFill>
                  <a:schemeClr val="accent6"/>
                </a:solidFill>
              </a:rPr>
              <a:t>?</a:t>
            </a:r>
          </a:p>
        </p:txBody>
      </p:sp>
      <p:cxnSp>
        <p:nvCxnSpPr>
          <p:cNvPr id="5" name="Gerade Verbindung 4"/>
          <p:cNvCxnSpPr/>
          <p:nvPr/>
        </p:nvCxnSpPr>
        <p:spPr>
          <a:xfrm flipV="1">
            <a:off x="0" y="2950234"/>
            <a:ext cx="10084279" cy="3907768"/>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Gerade Verbindung 6"/>
          <p:cNvCxnSpPr/>
          <p:nvPr/>
        </p:nvCxnSpPr>
        <p:spPr>
          <a:xfrm flipV="1">
            <a:off x="0" y="5003975"/>
            <a:ext cx="9906000" cy="1854025"/>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8" name="Textplatzhalter 2"/>
          <p:cNvSpPr txBox="1">
            <a:spLocks/>
          </p:cNvSpPr>
          <p:nvPr/>
        </p:nvSpPr>
        <p:spPr>
          <a:xfrm rot="20316499">
            <a:off x="510251" y="4096169"/>
            <a:ext cx="8885499" cy="697671"/>
          </a:xfrm>
          <a:prstGeom prst="rect">
            <a:avLst/>
          </a:prstGeom>
        </p:spPr>
        <p:txBody>
          <a:bodyPr vert="horz" wrap="square" lIns="0" tIns="0" rIns="0" bIns="0" rtlCol="0" anchor="t" anchorCtr="0">
            <a:noAutofit/>
          </a:bodyPr>
          <a:lstStyle>
            <a:lvl1pPr marL="0" indent="0" algn="l" defTabSz="914400" rtl="0" eaLnBrk="1" latinLnBrk="0" hangingPunct="1">
              <a:spcBef>
                <a:spcPts val="200"/>
              </a:spcBef>
              <a:buClr>
                <a:schemeClr val="tx2"/>
              </a:buClr>
              <a:buFont typeface="Wingdings" pitchFamily="2" charset="2"/>
              <a:buNone/>
              <a:defRPr sz="4400" b="0" kern="1200">
                <a:solidFill>
                  <a:schemeClr val="tx2"/>
                </a:solidFill>
                <a:latin typeface="+mj-lt"/>
                <a:ea typeface="+mn-ea"/>
                <a:cs typeface="+mn-cs"/>
              </a:defRPr>
            </a:lvl1pPr>
            <a:lvl2pPr marL="0" indent="0" algn="l" defTabSz="914400" rtl="0" eaLnBrk="1" latinLnBrk="0" hangingPunct="1">
              <a:spcBef>
                <a:spcPts val="200"/>
              </a:spcBef>
              <a:buClr>
                <a:schemeClr val="tx2"/>
              </a:buClr>
              <a:buFont typeface="Wingdings" pitchFamily="2" charset="2"/>
              <a:buNone/>
              <a:defRPr sz="2400" kern="1200">
                <a:solidFill>
                  <a:schemeClr val="tx2"/>
                </a:solidFill>
                <a:latin typeface="+mj-lt"/>
                <a:ea typeface="+mn-ea"/>
                <a:cs typeface="+mn-cs"/>
              </a:defRPr>
            </a:lvl2pPr>
            <a:lvl3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3pPr>
            <a:lvl4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4pPr>
            <a:lvl5pPr marL="0" indent="0" algn="l" defTabSz="914400" rtl="0" eaLnBrk="1" latinLnBrk="0" hangingPunct="1">
              <a:spcBef>
                <a:spcPts val="200"/>
              </a:spcBef>
              <a:buClr>
                <a:schemeClr val="tx2"/>
              </a:buClr>
              <a:buFont typeface="Symbol" pitchFamily="18" charset="2"/>
              <a:buNone/>
              <a:defRPr sz="2400" kern="1200">
                <a:solidFill>
                  <a:schemeClr val="tx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bg1"/>
                </a:solidFill>
              </a:rPr>
              <a:t>Alternative </a:t>
            </a:r>
            <a:r>
              <a:rPr lang="de-DE" sz="3600" b="1" dirty="0" err="1" smtClean="0">
                <a:solidFill>
                  <a:schemeClr val="bg1"/>
                </a:solidFill>
              </a:rPr>
              <a:t>publication</a:t>
            </a:r>
            <a:r>
              <a:rPr lang="de-DE" sz="3600" b="1" dirty="0" smtClean="0">
                <a:solidFill>
                  <a:schemeClr val="bg1"/>
                </a:solidFill>
              </a:rPr>
              <a:t> </a:t>
            </a:r>
            <a:r>
              <a:rPr lang="de-DE" sz="3600" b="1" dirty="0" err="1" smtClean="0">
                <a:solidFill>
                  <a:schemeClr val="bg1"/>
                </a:solidFill>
              </a:rPr>
              <a:t>venues</a:t>
            </a:r>
            <a:endParaRPr lang="de-DE" sz="3600" dirty="0">
              <a:solidFill>
                <a:schemeClr val="bg1"/>
              </a:solidFill>
            </a:endParaRPr>
          </a:p>
        </p:txBody>
      </p:sp>
    </p:spTree>
    <p:extLst>
      <p:ext uri="{BB962C8B-B14F-4D97-AF65-F5344CB8AC3E}">
        <p14:creationId xmlns:p14="http://schemas.microsoft.com/office/powerpoint/2010/main" val="19640478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uppieren 28"/>
          <p:cNvGrpSpPr/>
          <p:nvPr/>
        </p:nvGrpSpPr>
        <p:grpSpPr>
          <a:xfrm>
            <a:off x="-468523" y="3034432"/>
            <a:ext cx="5636713" cy="3413342"/>
            <a:chOff x="162838" y="3012510"/>
            <a:chExt cx="3663863" cy="2376816"/>
          </a:xfrm>
        </p:grpSpPr>
        <p:sp>
          <p:nvSpPr>
            <p:cNvPr id="26" name="Freihandform 25"/>
            <p:cNvSpPr/>
            <p:nvPr/>
          </p:nvSpPr>
          <p:spPr>
            <a:xfrm>
              <a:off x="162838" y="3012510"/>
              <a:ext cx="3613759" cy="2248422"/>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3759" h="2248422">
                  <a:moveTo>
                    <a:pt x="1471809" y="2248422"/>
                  </a:moveTo>
                  <a:lnTo>
                    <a:pt x="3613759" y="1665961"/>
                  </a:lnTo>
                  <a:lnTo>
                    <a:pt x="2317315" y="1240076"/>
                  </a:lnTo>
                  <a:lnTo>
                    <a:pt x="1885167" y="0"/>
                  </a:lnTo>
                  <a:lnTo>
                    <a:pt x="0" y="300624"/>
                  </a:lnTo>
                  <a:lnTo>
                    <a:pt x="419622" y="1709802"/>
                  </a:lnTo>
                  <a:lnTo>
                    <a:pt x="1471809" y="224842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7" name="Freihandform 26"/>
            <p:cNvSpPr/>
            <p:nvPr/>
          </p:nvSpPr>
          <p:spPr>
            <a:xfrm>
              <a:off x="394570" y="3194137"/>
              <a:ext cx="1859945" cy="1265129"/>
            </a:xfrm>
            <a:custGeom>
              <a:avLst/>
              <a:gdLst>
                <a:gd name="connsiteX0" fmla="*/ 1534438 w 1822537"/>
                <a:gd name="connsiteY0" fmla="*/ 0 h 1265129"/>
                <a:gd name="connsiteX1" fmla="*/ 0 w 1822537"/>
                <a:gd name="connsiteY1" fmla="*/ 256784 h 1265129"/>
                <a:gd name="connsiteX2" fmla="*/ 306888 w 1822537"/>
                <a:gd name="connsiteY2" fmla="*/ 1265129 h 1265129"/>
                <a:gd name="connsiteX3" fmla="*/ 1822537 w 1822537"/>
                <a:gd name="connsiteY3" fmla="*/ 951978 h 1265129"/>
                <a:gd name="connsiteX4" fmla="*/ 1534438 w 1822537"/>
                <a:gd name="connsiteY4" fmla="*/ 0 h 1265129"/>
                <a:gd name="connsiteX0" fmla="*/ 1534438 w 1843319"/>
                <a:gd name="connsiteY0" fmla="*/ 0 h 1265129"/>
                <a:gd name="connsiteX1" fmla="*/ 0 w 1843319"/>
                <a:gd name="connsiteY1" fmla="*/ 256784 h 1265129"/>
                <a:gd name="connsiteX2" fmla="*/ 306888 w 1843319"/>
                <a:gd name="connsiteY2" fmla="*/ 1265129 h 1265129"/>
                <a:gd name="connsiteX3" fmla="*/ 1843319 w 1843319"/>
                <a:gd name="connsiteY3" fmla="*/ 947525 h 1265129"/>
                <a:gd name="connsiteX4" fmla="*/ 1534438 w 1843319"/>
                <a:gd name="connsiteY4" fmla="*/ 0 h 1265129"/>
                <a:gd name="connsiteX0" fmla="*/ 1534438 w 1859945"/>
                <a:gd name="connsiteY0" fmla="*/ 0 h 1265129"/>
                <a:gd name="connsiteX1" fmla="*/ 0 w 1859945"/>
                <a:gd name="connsiteY1" fmla="*/ 256784 h 1265129"/>
                <a:gd name="connsiteX2" fmla="*/ 306888 w 1859945"/>
                <a:gd name="connsiteY2" fmla="*/ 1265129 h 1265129"/>
                <a:gd name="connsiteX3" fmla="*/ 1859945 w 1859945"/>
                <a:gd name="connsiteY3" fmla="*/ 947525 h 1265129"/>
                <a:gd name="connsiteX4" fmla="*/ 1534438 w 1859945"/>
                <a:gd name="connsiteY4" fmla="*/ 0 h 1265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945" h="1265129">
                  <a:moveTo>
                    <a:pt x="1534438" y="0"/>
                  </a:moveTo>
                  <a:lnTo>
                    <a:pt x="0" y="256784"/>
                  </a:lnTo>
                  <a:lnTo>
                    <a:pt x="306888" y="1265129"/>
                  </a:lnTo>
                  <a:lnTo>
                    <a:pt x="1859945" y="947525"/>
                  </a:lnTo>
                  <a:lnTo>
                    <a:pt x="153443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8" name="Freihandform 27"/>
            <p:cNvSpPr/>
            <p:nvPr/>
          </p:nvSpPr>
          <p:spPr>
            <a:xfrm>
              <a:off x="563671" y="4380980"/>
              <a:ext cx="3263030" cy="1008346"/>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 name="connsiteX0" fmla="*/ 1471809 w 3613759"/>
                <a:gd name="connsiteY0" fmla="*/ 1947798 h 1947798"/>
                <a:gd name="connsiteX1" fmla="*/ 3613759 w 3613759"/>
                <a:gd name="connsiteY1" fmla="*/ 1365337 h 1947798"/>
                <a:gd name="connsiteX2" fmla="*/ 2317315 w 3613759"/>
                <a:gd name="connsiteY2" fmla="*/ 939452 h 1947798"/>
                <a:gd name="connsiteX3" fmla="*/ 0 w 3613759"/>
                <a:gd name="connsiteY3" fmla="*/ 0 h 1947798"/>
                <a:gd name="connsiteX4" fmla="*/ 419622 w 3613759"/>
                <a:gd name="connsiteY4" fmla="*/ 1409178 h 1947798"/>
                <a:gd name="connsiteX5" fmla="*/ 1471809 w 3613759"/>
                <a:gd name="connsiteY5" fmla="*/ 1947798 h 1947798"/>
                <a:gd name="connsiteX0" fmla="*/ 1052187 w 3194137"/>
                <a:gd name="connsiteY0" fmla="*/ 1008346 h 1008346"/>
                <a:gd name="connsiteX1" fmla="*/ 3194137 w 3194137"/>
                <a:gd name="connsiteY1" fmla="*/ 425885 h 1008346"/>
                <a:gd name="connsiteX2" fmla="*/ 1897693 w 3194137"/>
                <a:gd name="connsiteY2" fmla="*/ 0 h 1008346"/>
                <a:gd name="connsiteX3" fmla="*/ 0 w 3194137"/>
                <a:gd name="connsiteY3" fmla="*/ 469726 h 1008346"/>
                <a:gd name="connsiteX4" fmla="*/ 1052187 w 3194137"/>
                <a:gd name="connsiteY4" fmla="*/ 1008346 h 1008346"/>
                <a:gd name="connsiteX0" fmla="*/ 1052187 w 3194137"/>
                <a:gd name="connsiteY0" fmla="*/ 1008346 h 1008346"/>
                <a:gd name="connsiteX1" fmla="*/ 3194137 w 3194137"/>
                <a:gd name="connsiteY1" fmla="*/ 425885 h 1008346"/>
                <a:gd name="connsiteX2" fmla="*/ 1897693 w 3194137"/>
                <a:gd name="connsiteY2" fmla="*/ 0 h 1008346"/>
                <a:gd name="connsiteX3" fmla="*/ 25052 w 3194137"/>
                <a:gd name="connsiteY3" fmla="*/ 316280 h 1008346"/>
                <a:gd name="connsiteX4" fmla="*/ 0 w 3194137"/>
                <a:gd name="connsiteY4" fmla="*/ 469726 h 1008346"/>
                <a:gd name="connsiteX5" fmla="*/ 1052187 w 3194137"/>
                <a:gd name="connsiteY5"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 name="connsiteX0" fmla="*/ 1052187 w 3207156"/>
                <a:gd name="connsiteY0" fmla="*/ 1008346 h 1008346"/>
                <a:gd name="connsiteX1" fmla="*/ 3194137 w 3207156"/>
                <a:gd name="connsiteY1" fmla="*/ 425885 h 1008346"/>
                <a:gd name="connsiteX2" fmla="*/ 3162822 w 3207156"/>
                <a:gd name="connsiteY2" fmla="*/ 284965 h 1008346"/>
                <a:gd name="connsiteX3" fmla="*/ 1897693 w 3207156"/>
                <a:gd name="connsiteY3" fmla="*/ 0 h 1008346"/>
                <a:gd name="connsiteX4" fmla="*/ 25052 w 3207156"/>
                <a:gd name="connsiteY4" fmla="*/ 316280 h 1008346"/>
                <a:gd name="connsiteX5" fmla="*/ 0 w 3207156"/>
                <a:gd name="connsiteY5" fmla="*/ 469726 h 1008346"/>
                <a:gd name="connsiteX6" fmla="*/ 1052187 w 3207156"/>
                <a:gd name="connsiteY6"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4137" h="1008346">
                  <a:moveTo>
                    <a:pt x="1052187" y="1008346"/>
                  </a:moveTo>
                  <a:lnTo>
                    <a:pt x="3194137" y="425885"/>
                  </a:lnTo>
                  <a:cubicBezTo>
                    <a:pt x="3189962" y="355947"/>
                    <a:pt x="3192049" y="342377"/>
                    <a:pt x="3162822" y="284965"/>
                  </a:cubicBezTo>
                  <a:lnTo>
                    <a:pt x="1897693" y="0"/>
                  </a:lnTo>
                  <a:cubicBezTo>
                    <a:pt x="1329847" y="138829"/>
                    <a:pt x="592898" y="177451"/>
                    <a:pt x="25052" y="316280"/>
                  </a:cubicBezTo>
                  <a:lnTo>
                    <a:pt x="0" y="469726"/>
                  </a:lnTo>
                  <a:lnTo>
                    <a:pt x="1052187" y="10083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sp>
        <p:nvSpPr>
          <p:cNvPr id="2" name="Foliennummernplatzhalter 1"/>
          <p:cNvSpPr>
            <a:spLocks noGrp="1"/>
          </p:cNvSpPr>
          <p:nvPr>
            <p:ph type="sldNum" sz="quarter" idx="12"/>
          </p:nvPr>
        </p:nvSpPr>
        <p:spPr/>
        <p:txBody>
          <a:bodyPr/>
          <a:lstStyle/>
          <a:p>
            <a:fld id="{4AD1E780-DE1C-4ECA-B5E5-863D0BC53287}" type="slidenum">
              <a:rPr lang="de-DE" smtClean="0"/>
              <a:pPr/>
              <a:t>1</a:t>
            </a:fld>
            <a:endParaRPr lang="de-DE" dirty="0"/>
          </a:p>
        </p:txBody>
      </p:sp>
      <p:sp>
        <p:nvSpPr>
          <p:cNvPr id="3" name="Textplatzhalter 2"/>
          <p:cNvSpPr>
            <a:spLocks noGrp="1"/>
          </p:cNvSpPr>
          <p:nvPr>
            <p:ph type="body" sz="quarter" idx="13"/>
          </p:nvPr>
        </p:nvSpPr>
        <p:spPr>
          <a:xfrm>
            <a:off x="302341" y="426280"/>
            <a:ext cx="8885499" cy="697671"/>
          </a:xfrm>
        </p:spPr>
        <p:txBody>
          <a:bodyPr anchor="t" anchorCtr="0"/>
          <a:lstStyle/>
          <a:p>
            <a:r>
              <a:rPr lang="de-DE" sz="3600" b="1" dirty="0" err="1" smtClean="0">
                <a:solidFill>
                  <a:schemeClr val="accent6"/>
                </a:solidFill>
              </a:rPr>
              <a:t>Delivering</a:t>
            </a:r>
            <a:r>
              <a:rPr lang="de-DE" sz="3600" b="1" dirty="0" smtClean="0">
                <a:solidFill>
                  <a:schemeClr val="accent6"/>
                </a:solidFill>
              </a:rPr>
              <a:t> open </a:t>
            </a:r>
            <a:r>
              <a:rPr lang="de-DE" sz="3600" b="1" dirty="0" err="1" smtClean="0">
                <a:solidFill>
                  <a:schemeClr val="accent6"/>
                </a:solidFill>
              </a:rPr>
              <a:t>access</a:t>
            </a:r>
            <a:r>
              <a:rPr lang="de-DE" sz="3600" b="1" dirty="0" smtClean="0">
                <a:solidFill>
                  <a:schemeClr val="accent6"/>
                </a:solidFill>
              </a:rPr>
              <a:t> (</a:t>
            </a:r>
            <a:r>
              <a:rPr lang="de-DE" sz="3600" b="1" dirty="0" err="1" smtClean="0">
                <a:solidFill>
                  <a:schemeClr val="accent6"/>
                </a:solidFill>
              </a:rPr>
              <a:t>and</a:t>
            </a:r>
            <a:r>
              <a:rPr lang="de-DE" sz="3600" b="1" dirty="0" smtClean="0">
                <a:solidFill>
                  <a:schemeClr val="accent6"/>
                </a:solidFill>
              </a:rPr>
              <a:t> </a:t>
            </a:r>
            <a:r>
              <a:rPr lang="de-DE" sz="3600" b="1" dirty="0" err="1" smtClean="0">
                <a:solidFill>
                  <a:schemeClr val="accent6"/>
                </a:solidFill>
              </a:rPr>
              <a:t>value</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a:t>
            </a:r>
            <a:r>
              <a:rPr lang="de-DE" sz="3600" b="1" dirty="0" err="1" smtClean="0">
                <a:solidFill>
                  <a:schemeClr val="accent6"/>
                </a:solidFill>
              </a:rPr>
              <a:t>scholars</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a:t>
            </a:r>
            <a:r>
              <a:rPr lang="de-DE" sz="3600" b="1" dirty="0" err="1" smtClean="0">
                <a:solidFill>
                  <a:schemeClr val="accent6"/>
                </a:solidFill>
              </a:rPr>
              <a:t>our</a:t>
            </a:r>
            <a:r>
              <a:rPr lang="de-DE" sz="3600" b="1" dirty="0" smtClean="0">
                <a:solidFill>
                  <a:schemeClr val="accent6"/>
                </a:solidFill>
              </a:rPr>
              <a:t> </a:t>
            </a:r>
            <a:r>
              <a:rPr lang="de-DE" sz="3600" b="1" dirty="0" err="1" smtClean="0">
                <a:solidFill>
                  <a:schemeClr val="accent6"/>
                </a:solidFill>
              </a:rPr>
              <a:t>institutions</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a:t>
            </a:r>
            <a:r>
              <a:rPr lang="de-DE" sz="3600" b="1" dirty="0" err="1" smtClean="0">
                <a:solidFill>
                  <a:schemeClr val="accent6"/>
                </a:solidFill>
              </a:rPr>
              <a:t>society</a:t>
            </a:r>
            <a:endParaRPr lang="de-DE" sz="3600" b="1" dirty="0" smtClean="0">
              <a:solidFill>
                <a:schemeClr val="accent6"/>
              </a:solidFill>
            </a:endParaRPr>
          </a:p>
          <a:p>
            <a:endParaRPr lang="de-DE" sz="3600" dirty="0" smtClean="0"/>
          </a:p>
        </p:txBody>
      </p:sp>
      <p:grpSp>
        <p:nvGrpSpPr>
          <p:cNvPr id="17" name="Gruppieren 16"/>
          <p:cNvGrpSpPr/>
          <p:nvPr/>
        </p:nvGrpSpPr>
        <p:grpSpPr>
          <a:xfrm>
            <a:off x="4972832" y="2758858"/>
            <a:ext cx="1947797" cy="2599151"/>
            <a:chOff x="3306871" y="3281818"/>
            <a:chExt cx="1947797" cy="2599151"/>
          </a:xfrm>
        </p:grpSpPr>
        <p:sp>
          <p:nvSpPr>
            <p:cNvPr id="18" name="Rechteck 3"/>
            <p:cNvSpPr/>
            <p:nvPr/>
          </p:nvSpPr>
          <p:spPr>
            <a:xfrm>
              <a:off x="3306871" y="3281818"/>
              <a:ext cx="1947797" cy="2599151"/>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797" h="2599151">
                  <a:moveTo>
                    <a:pt x="0" y="6263"/>
                  </a:moveTo>
                  <a:lnTo>
                    <a:pt x="1415441" y="0"/>
                  </a:lnTo>
                  <a:lnTo>
                    <a:pt x="1947797" y="519831"/>
                  </a:lnTo>
                  <a:lnTo>
                    <a:pt x="1947797" y="2599151"/>
                  </a:lnTo>
                  <a:lnTo>
                    <a:pt x="0" y="2599151"/>
                  </a:lnTo>
                  <a:lnTo>
                    <a:pt x="0" y="6263"/>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9" name="Freihandform 18"/>
            <p:cNvSpPr/>
            <p:nvPr/>
          </p:nvSpPr>
          <p:spPr>
            <a:xfrm>
              <a:off x="4716049" y="3288082"/>
              <a:ext cx="532356" cy="519830"/>
            </a:xfrm>
            <a:custGeom>
              <a:avLst/>
              <a:gdLst>
                <a:gd name="connsiteX0" fmla="*/ 0 w 532356"/>
                <a:gd name="connsiteY0" fmla="*/ 0 h 457200"/>
                <a:gd name="connsiteX1" fmla="*/ 0 w 532356"/>
                <a:gd name="connsiteY1" fmla="*/ 457200 h 457200"/>
                <a:gd name="connsiteX2" fmla="*/ 532356 w 532356"/>
                <a:gd name="connsiteY2" fmla="*/ 457200 h 457200"/>
              </a:gdLst>
              <a:ahLst/>
              <a:cxnLst>
                <a:cxn ang="0">
                  <a:pos x="connsiteX0" y="connsiteY0"/>
                </a:cxn>
                <a:cxn ang="0">
                  <a:pos x="connsiteX1" y="connsiteY1"/>
                </a:cxn>
                <a:cxn ang="0">
                  <a:pos x="connsiteX2" y="connsiteY2"/>
                </a:cxn>
              </a:cxnLst>
              <a:rect l="l" t="t" r="r" b="b"/>
              <a:pathLst>
                <a:path w="532356" h="457200">
                  <a:moveTo>
                    <a:pt x="0" y="0"/>
                  </a:moveTo>
                  <a:lnTo>
                    <a:pt x="0" y="457200"/>
                  </a:lnTo>
                  <a:lnTo>
                    <a:pt x="532356" y="457200"/>
                  </a:lnTo>
                </a:path>
              </a:pathLst>
            </a:cu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1" name="Gruppieren 50"/>
          <p:cNvGrpSpPr/>
          <p:nvPr/>
        </p:nvGrpSpPr>
        <p:grpSpPr>
          <a:xfrm>
            <a:off x="6594952" y="3055992"/>
            <a:ext cx="1991638" cy="2295398"/>
            <a:chOff x="920663" y="2298526"/>
            <a:chExt cx="1991638" cy="2295398"/>
          </a:xfrm>
        </p:grpSpPr>
        <p:sp>
          <p:nvSpPr>
            <p:cNvPr id="41" name="Ellipse 40"/>
            <p:cNvSpPr/>
            <p:nvPr/>
          </p:nvSpPr>
          <p:spPr>
            <a:xfrm>
              <a:off x="920663" y="3114285"/>
              <a:ext cx="663879" cy="663879"/>
            </a:xfrm>
            <a:prstGeom prst="ellipse">
              <a:avLst/>
            </a:prstGeom>
            <a:no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3" name="Ellipse 42"/>
            <p:cNvSpPr/>
            <p:nvPr/>
          </p:nvSpPr>
          <p:spPr>
            <a:xfrm>
              <a:off x="2248422" y="2298526"/>
              <a:ext cx="663879" cy="663879"/>
            </a:xfrm>
            <a:prstGeom prst="ellipse">
              <a:avLst/>
            </a:prstGeom>
            <a:no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4" name="Ellipse 43"/>
            <p:cNvSpPr/>
            <p:nvPr/>
          </p:nvSpPr>
          <p:spPr>
            <a:xfrm>
              <a:off x="2248422" y="3930045"/>
              <a:ext cx="663879" cy="663879"/>
            </a:xfrm>
            <a:prstGeom prst="ellipse">
              <a:avLst/>
            </a:prstGeom>
            <a:no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cxnSp>
          <p:nvCxnSpPr>
            <p:cNvPr id="45" name="Gerade Verbindung 44"/>
            <p:cNvCxnSpPr>
              <a:stCxn id="41" idx="7"/>
            </p:cNvCxnSpPr>
            <p:nvPr/>
          </p:nvCxnSpPr>
          <p:spPr>
            <a:xfrm flipV="1">
              <a:off x="1487319" y="2765122"/>
              <a:ext cx="761103" cy="446386"/>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a:stCxn id="41" idx="5"/>
            </p:cNvCxnSpPr>
            <p:nvPr/>
          </p:nvCxnSpPr>
          <p:spPr>
            <a:xfrm>
              <a:off x="1487319" y="3680941"/>
              <a:ext cx="761103" cy="446385"/>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 name="Gruppieren 9"/>
          <p:cNvGrpSpPr/>
          <p:nvPr/>
        </p:nvGrpSpPr>
        <p:grpSpPr>
          <a:xfrm>
            <a:off x="3926910" y="3496322"/>
            <a:ext cx="1947797" cy="2599151"/>
            <a:chOff x="3306871" y="3281818"/>
            <a:chExt cx="1947797" cy="2599151"/>
          </a:xfrm>
        </p:grpSpPr>
        <p:sp>
          <p:nvSpPr>
            <p:cNvPr id="4" name="Rechteck 3"/>
            <p:cNvSpPr/>
            <p:nvPr/>
          </p:nvSpPr>
          <p:spPr>
            <a:xfrm>
              <a:off x="3306871" y="3281818"/>
              <a:ext cx="1947797" cy="2599151"/>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797" h="2599151">
                  <a:moveTo>
                    <a:pt x="0" y="6263"/>
                  </a:moveTo>
                  <a:lnTo>
                    <a:pt x="1415441" y="0"/>
                  </a:lnTo>
                  <a:lnTo>
                    <a:pt x="1947797" y="519831"/>
                  </a:lnTo>
                  <a:lnTo>
                    <a:pt x="1947797" y="2599151"/>
                  </a:lnTo>
                  <a:lnTo>
                    <a:pt x="0" y="2599151"/>
                  </a:lnTo>
                  <a:lnTo>
                    <a:pt x="0" y="6263"/>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 name="Freihandform 4"/>
            <p:cNvSpPr/>
            <p:nvPr/>
          </p:nvSpPr>
          <p:spPr>
            <a:xfrm>
              <a:off x="4716049" y="3288082"/>
              <a:ext cx="532356" cy="519830"/>
            </a:xfrm>
            <a:custGeom>
              <a:avLst/>
              <a:gdLst>
                <a:gd name="connsiteX0" fmla="*/ 0 w 532356"/>
                <a:gd name="connsiteY0" fmla="*/ 0 h 457200"/>
                <a:gd name="connsiteX1" fmla="*/ 0 w 532356"/>
                <a:gd name="connsiteY1" fmla="*/ 457200 h 457200"/>
                <a:gd name="connsiteX2" fmla="*/ 532356 w 532356"/>
                <a:gd name="connsiteY2" fmla="*/ 457200 h 457200"/>
              </a:gdLst>
              <a:ahLst/>
              <a:cxnLst>
                <a:cxn ang="0">
                  <a:pos x="connsiteX0" y="connsiteY0"/>
                </a:cxn>
                <a:cxn ang="0">
                  <a:pos x="connsiteX1" y="connsiteY1"/>
                </a:cxn>
                <a:cxn ang="0">
                  <a:pos x="connsiteX2" y="connsiteY2"/>
                </a:cxn>
              </a:cxnLst>
              <a:rect l="l" t="t" r="r" b="b"/>
              <a:pathLst>
                <a:path w="532356" h="457200">
                  <a:moveTo>
                    <a:pt x="0" y="0"/>
                  </a:moveTo>
                  <a:lnTo>
                    <a:pt x="0" y="457200"/>
                  </a:lnTo>
                  <a:lnTo>
                    <a:pt x="532356" y="457200"/>
                  </a:lnTo>
                </a:path>
              </a:pathLst>
            </a:cu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 name="Gerade Verbindung 6"/>
            <p:cNvCxnSpPr/>
            <p:nvPr/>
          </p:nvCxnSpPr>
          <p:spPr>
            <a:xfrm>
              <a:off x="3707704" y="4402899"/>
              <a:ext cx="1008345"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a:off x="3707704" y="4831916"/>
              <a:ext cx="1008345"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3707703" y="5260932"/>
              <a:ext cx="1008345"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636681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a:xfrm>
            <a:off x="0" y="0"/>
            <a:ext cx="6620466" cy="6858000"/>
          </a:xfrm>
          <a:custGeom>
            <a:avLst/>
            <a:gdLst>
              <a:gd name="connsiteX0" fmla="*/ 0 w 9906000"/>
              <a:gd name="connsiteY0" fmla="*/ 0 h 6858000"/>
              <a:gd name="connsiteX1" fmla="*/ 9906000 w 9906000"/>
              <a:gd name="connsiteY1" fmla="*/ 0 h 6858000"/>
              <a:gd name="connsiteX2" fmla="*/ 9906000 w 9906000"/>
              <a:gd name="connsiteY2" fmla="*/ 6858000 h 6858000"/>
              <a:gd name="connsiteX3" fmla="*/ 0 w 9906000"/>
              <a:gd name="connsiteY3" fmla="*/ 6858000 h 6858000"/>
              <a:gd name="connsiteX4" fmla="*/ 0 w 9906000"/>
              <a:gd name="connsiteY4" fmla="*/ 0 h 6858000"/>
              <a:gd name="connsiteX0" fmla="*/ 0 w 9906000"/>
              <a:gd name="connsiteY0" fmla="*/ 0 h 6858000"/>
              <a:gd name="connsiteX1" fmla="*/ 9906000 w 9906000"/>
              <a:gd name="connsiteY1" fmla="*/ 0 h 6858000"/>
              <a:gd name="connsiteX2" fmla="*/ 9906000 w 9906000"/>
              <a:gd name="connsiteY2" fmla="*/ 5003975 h 6858000"/>
              <a:gd name="connsiteX3" fmla="*/ 0 w 9906000"/>
              <a:gd name="connsiteY3" fmla="*/ 6858000 h 6858000"/>
              <a:gd name="connsiteX4" fmla="*/ 0 w 9906000"/>
              <a:gd name="connsiteY4" fmla="*/ 0 h 6858000"/>
              <a:gd name="connsiteX0" fmla="*/ 0 w 9906000"/>
              <a:gd name="connsiteY0" fmla="*/ 0 h 6858000"/>
              <a:gd name="connsiteX1" fmla="*/ 9906000 w 9906000"/>
              <a:gd name="connsiteY1" fmla="*/ 0 h 6858000"/>
              <a:gd name="connsiteX2" fmla="*/ 9906000 w 9906000"/>
              <a:gd name="connsiteY2" fmla="*/ 3023826 h 6858000"/>
              <a:gd name="connsiteX3" fmla="*/ 0 w 9906000"/>
              <a:gd name="connsiteY3" fmla="*/ 6858000 h 6858000"/>
              <a:gd name="connsiteX4" fmla="*/ 0 w 9906000"/>
              <a:gd name="connsiteY4" fmla="*/ 0 h 6858000"/>
              <a:gd name="connsiteX0" fmla="*/ 0 w 9906000"/>
              <a:gd name="connsiteY0" fmla="*/ 0 h 6858000"/>
              <a:gd name="connsiteX1" fmla="*/ 9906000 w 9906000"/>
              <a:gd name="connsiteY1" fmla="*/ 0 h 6858000"/>
              <a:gd name="connsiteX2" fmla="*/ 0 w 9906000"/>
              <a:gd name="connsiteY2" fmla="*/ 6858000 h 6858000"/>
              <a:gd name="connsiteX3" fmla="*/ 0 w 9906000"/>
              <a:gd name="connsiteY3" fmla="*/ 0 h 6858000"/>
              <a:gd name="connsiteX0" fmla="*/ 0 w 6620466"/>
              <a:gd name="connsiteY0" fmla="*/ 0 h 6858000"/>
              <a:gd name="connsiteX1" fmla="*/ 6620466 w 6620466"/>
              <a:gd name="connsiteY1" fmla="*/ 0 h 6858000"/>
              <a:gd name="connsiteX2" fmla="*/ 0 w 6620466"/>
              <a:gd name="connsiteY2" fmla="*/ 6858000 h 6858000"/>
              <a:gd name="connsiteX3" fmla="*/ 0 w 6620466"/>
              <a:gd name="connsiteY3" fmla="*/ 0 h 6858000"/>
            </a:gdLst>
            <a:ahLst/>
            <a:cxnLst>
              <a:cxn ang="0">
                <a:pos x="connsiteX0" y="connsiteY0"/>
              </a:cxn>
              <a:cxn ang="0">
                <a:pos x="connsiteX1" y="connsiteY1"/>
              </a:cxn>
              <a:cxn ang="0">
                <a:pos x="connsiteX2" y="connsiteY2"/>
              </a:cxn>
              <a:cxn ang="0">
                <a:pos x="connsiteX3" y="connsiteY3"/>
              </a:cxn>
            </a:cxnLst>
            <a:rect l="l" t="t" r="r" b="b"/>
            <a:pathLst>
              <a:path w="6620466" h="6858000">
                <a:moveTo>
                  <a:pt x="0" y="0"/>
                </a:moveTo>
                <a:lnTo>
                  <a:pt x="6620466" y="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 name="Foliennummernplatzhalter 1"/>
          <p:cNvSpPr>
            <a:spLocks noGrp="1"/>
          </p:cNvSpPr>
          <p:nvPr>
            <p:ph type="sldNum" sz="quarter" idx="12"/>
          </p:nvPr>
        </p:nvSpPr>
        <p:spPr/>
        <p:txBody>
          <a:bodyPr/>
          <a:lstStyle/>
          <a:p>
            <a:fld id="{4AD1E780-DE1C-4ECA-B5E5-863D0BC53287}" type="slidenum">
              <a:rPr lang="de-DE" smtClean="0"/>
              <a:pPr/>
              <a:t>19</a:t>
            </a:fld>
            <a:endParaRPr lang="de-DE" dirty="0"/>
          </a:p>
        </p:txBody>
      </p:sp>
      <p:sp>
        <p:nvSpPr>
          <p:cNvPr id="3" name="Textplatzhalter 2"/>
          <p:cNvSpPr>
            <a:spLocks noGrp="1"/>
          </p:cNvSpPr>
          <p:nvPr>
            <p:ph type="body" sz="quarter" idx="13"/>
          </p:nvPr>
        </p:nvSpPr>
        <p:spPr>
          <a:xfrm>
            <a:off x="302341" y="426280"/>
            <a:ext cx="9480486" cy="697671"/>
          </a:xfrm>
        </p:spPr>
        <p:txBody>
          <a:bodyPr anchor="t" anchorCtr="0"/>
          <a:lstStyle/>
          <a:p>
            <a:r>
              <a:rPr lang="de-DE" sz="3600" b="1" dirty="0" err="1" smtClean="0">
                <a:solidFill>
                  <a:schemeClr val="accent6"/>
                </a:solidFill>
              </a:rPr>
              <a:t>How</a:t>
            </a:r>
            <a:r>
              <a:rPr lang="de-DE" sz="3600" b="1" dirty="0" smtClean="0">
                <a:solidFill>
                  <a:schemeClr val="accent6"/>
                </a:solidFill>
              </a:rPr>
              <a:t> </a:t>
            </a:r>
            <a:r>
              <a:rPr lang="de-DE" sz="3600" b="1" dirty="0" err="1" smtClean="0">
                <a:solidFill>
                  <a:schemeClr val="accent6"/>
                </a:solidFill>
              </a:rPr>
              <a:t>can</a:t>
            </a:r>
            <a:r>
              <a:rPr lang="de-DE" sz="3600" b="1" dirty="0" smtClean="0">
                <a:solidFill>
                  <a:schemeClr val="accent6"/>
                </a:solidFill>
              </a:rPr>
              <a:t> </a:t>
            </a:r>
            <a:r>
              <a:rPr lang="de-DE" sz="3600" b="1" dirty="0" err="1" smtClean="0">
                <a:solidFill>
                  <a:schemeClr val="accent6"/>
                </a:solidFill>
              </a:rPr>
              <a:t>we</a:t>
            </a:r>
            <a:r>
              <a:rPr lang="de-DE" sz="3600" b="1" dirty="0" smtClean="0">
                <a:solidFill>
                  <a:schemeClr val="accent6"/>
                </a:solidFill>
              </a:rPr>
              <a:t> </a:t>
            </a:r>
            <a:r>
              <a:rPr lang="de-DE" sz="3600" b="1" dirty="0" err="1" smtClean="0">
                <a:solidFill>
                  <a:schemeClr val="accent6"/>
                </a:solidFill>
              </a:rPr>
              <a:t>deliver</a:t>
            </a:r>
            <a:r>
              <a:rPr lang="de-DE" sz="3600" b="1" dirty="0" smtClean="0">
                <a:solidFill>
                  <a:schemeClr val="accent6"/>
                </a:solidFill>
              </a:rPr>
              <a:t>?</a:t>
            </a:r>
          </a:p>
        </p:txBody>
      </p:sp>
      <p:cxnSp>
        <p:nvCxnSpPr>
          <p:cNvPr id="5" name="Gerade Verbindung 4"/>
          <p:cNvCxnSpPr/>
          <p:nvPr/>
        </p:nvCxnSpPr>
        <p:spPr>
          <a:xfrm flipV="1">
            <a:off x="0" y="-103517"/>
            <a:ext cx="6728604" cy="6961519"/>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Gerade Verbindung 6"/>
          <p:cNvCxnSpPr/>
          <p:nvPr/>
        </p:nvCxnSpPr>
        <p:spPr>
          <a:xfrm flipV="1">
            <a:off x="0" y="5003975"/>
            <a:ext cx="9906000" cy="1854025"/>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flipV="1">
            <a:off x="0" y="2380891"/>
            <a:ext cx="10041147" cy="4502164"/>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Textplatzhalter 2"/>
          <p:cNvSpPr txBox="1">
            <a:spLocks/>
          </p:cNvSpPr>
          <p:nvPr/>
        </p:nvSpPr>
        <p:spPr>
          <a:xfrm rot="18852056">
            <a:off x="-524428" y="2684362"/>
            <a:ext cx="6137934" cy="697671"/>
          </a:xfrm>
          <a:prstGeom prst="rect">
            <a:avLst/>
          </a:prstGeom>
        </p:spPr>
        <p:txBody>
          <a:bodyPr vert="horz" wrap="square" lIns="0" tIns="0" rIns="0" bIns="0" rtlCol="0" anchor="t" anchorCtr="0">
            <a:noAutofit/>
          </a:bodyPr>
          <a:lstStyle>
            <a:lvl1pPr marL="0" indent="0" algn="l" defTabSz="914400" rtl="0" eaLnBrk="1" latinLnBrk="0" hangingPunct="1">
              <a:spcBef>
                <a:spcPts val="200"/>
              </a:spcBef>
              <a:buClr>
                <a:schemeClr val="tx2"/>
              </a:buClr>
              <a:buFont typeface="Wingdings" pitchFamily="2" charset="2"/>
              <a:buNone/>
              <a:defRPr sz="4400" b="0" kern="1200">
                <a:solidFill>
                  <a:schemeClr val="tx2"/>
                </a:solidFill>
                <a:latin typeface="+mj-lt"/>
                <a:ea typeface="+mn-ea"/>
                <a:cs typeface="+mn-cs"/>
              </a:defRPr>
            </a:lvl1pPr>
            <a:lvl2pPr marL="0" indent="0" algn="l" defTabSz="914400" rtl="0" eaLnBrk="1" latinLnBrk="0" hangingPunct="1">
              <a:spcBef>
                <a:spcPts val="200"/>
              </a:spcBef>
              <a:buClr>
                <a:schemeClr val="tx2"/>
              </a:buClr>
              <a:buFont typeface="Wingdings" pitchFamily="2" charset="2"/>
              <a:buNone/>
              <a:defRPr sz="2400" kern="1200">
                <a:solidFill>
                  <a:schemeClr val="tx2"/>
                </a:solidFill>
                <a:latin typeface="+mj-lt"/>
                <a:ea typeface="+mn-ea"/>
                <a:cs typeface="+mn-cs"/>
              </a:defRPr>
            </a:lvl2pPr>
            <a:lvl3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3pPr>
            <a:lvl4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4pPr>
            <a:lvl5pPr marL="0" indent="0" algn="l" defTabSz="914400" rtl="0" eaLnBrk="1" latinLnBrk="0" hangingPunct="1">
              <a:spcBef>
                <a:spcPts val="200"/>
              </a:spcBef>
              <a:buClr>
                <a:schemeClr val="tx2"/>
              </a:buClr>
              <a:buFont typeface="Symbol" pitchFamily="18" charset="2"/>
              <a:buNone/>
              <a:defRPr sz="2400" kern="1200">
                <a:solidFill>
                  <a:schemeClr val="tx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bg1"/>
                </a:solidFill>
              </a:rPr>
              <a:t/>
            </a:r>
            <a:br>
              <a:rPr lang="de-DE" sz="3600" b="1" dirty="0" smtClean="0">
                <a:solidFill>
                  <a:schemeClr val="bg1"/>
                </a:solidFill>
              </a:rPr>
            </a:br>
            <a:r>
              <a:rPr lang="de-DE" sz="3600" b="1" dirty="0" smtClean="0">
                <a:solidFill>
                  <a:schemeClr val="bg1"/>
                </a:solidFill>
              </a:rPr>
              <a:t>Transformative </a:t>
            </a:r>
            <a:r>
              <a:rPr lang="de-DE" sz="3600" b="1" dirty="0" err="1" smtClean="0">
                <a:solidFill>
                  <a:schemeClr val="bg1"/>
                </a:solidFill>
              </a:rPr>
              <a:t>agreements</a:t>
            </a:r>
            <a:endParaRPr lang="de-DE" sz="3600" dirty="0">
              <a:solidFill>
                <a:schemeClr val="bg1"/>
              </a:solidFill>
            </a:endParaRPr>
          </a:p>
        </p:txBody>
      </p:sp>
    </p:spTree>
    <p:extLst>
      <p:ext uri="{BB962C8B-B14F-4D97-AF65-F5344CB8AC3E}">
        <p14:creationId xmlns:p14="http://schemas.microsoft.com/office/powerpoint/2010/main" val="367695843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20</a:t>
            </a:fld>
            <a:endParaRPr lang="de-DE" dirty="0"/>
          </a:p>
        </p:txBody>
      </p:sp>
      <p:sp>
        <p:nvSpPr>
          <p:cNvPr id="5" name="Textplatzhalter 2"/>
          <p:cNvSpPr txBox="1">
            <a:spLocks/>
          </p:cNvSpPr>
          <p:nvPr/>
        </p:nvSpPr>
        <p:spPr>
          <a:xfrm>
            <a:off x="266829" y="399646"/>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Build</a:t>
            </a:r>
            <a:r>
              <a:rPr lang="de-DE" sz="3600" b="1" dirty="0" smtClean="0">
                <a:solidFill>
                  <a:schemeClr val="accent6"/>
                </a:solidFill>
              </a:rPr>
              <a:t> </a:t>
            </a:r>
            <a:r>
              <a:rPr lang="de-DE" sz="3600" b="1" dirty="0" err="1" smtClean="0">
                <a:solidFill>
                  <a:schemeClr val="accent6"/>
                </a:solidFill>
              </a:rPr>
              <a:t>the</a:t>
            </a:r>
            <a:r>
              <a:rPr lang="de-DE" sz="3600" b="1" dirty="0" smtClean="0">
                <a:solidFill>
                  <a:schemeClr val="accent6"/>
                </a:solidFill>
              </a:rPr>
              <a:t> </a:t>
            </a:r>
            <a:r>
              <a:rPr lang="de-DE" sz="3600" b="1" dirty="0" err="1" smtClean="0">
                <a:solidFill>
                  <a:schemeClr val="accent6"/>
                </a:solidFill>
              </a:rPr>
              <a:t>evidence</a:t>
            </a:r>
            <a:r>
              <a:rPr lang="de-DE" sz="3600" b="1" dirty="0" smtClean="0">
                <a:solidFill>
                  <a:schemeClr val="accent6"/>
                </a:solidFill>
              </a:rPr>
              <a:t> </a:t>
            </a:r>
            <a:r>
              <a:rPr lang="de-DE" sz="3600" b="1" dirty="0" err="1" smtClean="0">
                <a:solidFill>
                  <a:schemeClr val="accent6"/>
                </a:solidFill>
              </a:rPr>
              <a:t>base</a:t>
            </a:r>
            <a:endParaRPr lang="de-DE" sz="3600" dirty="0"/>
          </a:p>
        </p:txBody>
      </p:sp>
      <p:sp>
        <p:nvSpPr>
          <p:cNvPr id="6" name="Rechteck 3"/>
          <p:cNvSpPr/>
          <p:nvPr/>
        </p:nvSpPr>
        <p:spPr>
          <a:xfrm>
            <a:off x="-79285" y="4629939"/>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 name="Rechteck 3"/>
          <p:cNvSpPr/>
          <p:nvPr/>
        </p:nvSpPr>
        <p:spPr>
          <a:xfrm>
            <a:off x="1223732" y="346762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 name="Rechteck 3"/>
          <p:cNvSpPr/>
          <p:nvPr/>
        </p:nvSpPr>
        <p:spPr>
          <a:xfrm>
            <a:off x="2517224" y="26865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 name="Rechteck 3"/>
          <p:cNvSpPr/>
          <p:nvPr/>
        </p:nvSpPr>
        <p:spPr>
          <a:xfrm>
            <a:off x="3782141" y="48201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 name="Rechteck 3"/>
          <p:cNvSpPr/>
          <p:nvPr/>
        </p:nvSpPr>
        <p:spPr>
          <a:xfrm>
            <a:off x="5056583" y="464872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5" name="Rechteck 3"/>
          <p:cNvSpPr/>
          <p:nvPr/>
        </p:nvSpPr>
        <p:spPr>
          <a:xfrm>
            <a:off x="6292925" y="438202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6" name="Rechteck 3"/>
          <p:cNvSpPr/>
          <p:nvPr/>
        </p:nvSpPr>
        <p:spPr>
          <a:xfrm>
            <a:off x="7576892" y="487732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7" name="Rechteck 3"/>
          <p:cNvSpPr/>
          <p:nvPr/>
        </p:nvSpPr>
        <p:spPr>
          <a:xfrm>
            <a:off x="8841810" y="3477414"/>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Tree>
    <p:extLst>
      <p:ext uri="{BB962C8B-B14F-4D97-AF65-F5344CB8AC3E}">
        <p14:creationId xmlns:p14="http://schemas.microsoft.com/office/powerpoint/2010/main" val="17466043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withEffect">
                                  <p:stCondLst>
                                    <p:cond delay="0"/>
                                  </p:stCondLst>
                                  <p:childTnLst>
                                    <p:animMotion origin="layout" path="M -0.00689 -2.22222E-6 C -0.00705 -0.04004 -0.00657 -0.07893 -0.00769 -0.11805 C -0.00721 -0.29722 -0.00721 -0.21157 -0.00689 -0.16389 C -0.00609 -0.05278 -0.00721 -0.20602 -0.00625 -0.04028 C -0.00625 -0.03009 -0.00609 -0.01991 -0.00593 -0.00972 C -0.00577 0.04306 -0.00641 0.09584 -0.00561 0.14861 C -0.00513 0.18658 -0.00545 0.07269 -0.00529 0.03472 C -0.00529 0.02338 -0.00497 0.01111 -0.00433 -2.22222E-6 C -0.00385 -0.03472 -0.00577 -0.07338 -0.00353 -0.10555 C -0.00305 -0.08703 -0.00273 -0.06852 -0.00257 -0.05 C -0.00225 0.01482 -0.00241 0.07963 -0.00193 0.14445 C -0.00177 0.16065 -0.00177 0.11204 -0.00161 0.09584 C -0.00128 0.06389 2.5641E-6 0.03172 2.5641E-6 -2.22222E-6 " pathEditMode="relative" rAng="0" ptsTypes="ffffffffffffA">
                                      <p:cBhvr>
                                        <p:cTn id="6" dur="7000" fill="hold"/>
                                        <p:tgtEl>
                                          <p:spTgt spid="11"/>
                                        </p:tgtEl>
                                        <p:attrNameLst>
                                          <p:attrName>ppt_x</p:attrName>
                                          <p:attrName>ppt_y</p:attrName>
                                        </p:attrNameLst>
                                      </p:cBhvr>
                                      <p:rCtr x="304" y="-5532"/>
                                    </p:animMotion>
                                  </p:childTnLst>
                                </p:cTn>
                              </p:par>
                              <p:par>
                                <p:cTn id="7" presetID="0" presetClass="path" presetSubtype="0" accel="50000" decel="50000" fill="hold" grpId="0" nodeType="withEffect">
                                  <p:stCondLst>
                                    <p:cond delay="0"/>
                                  </p:stCondLst>
                                  <p:childTnLst>
                                    <p:animMotion origin="layout" path="M 1.53846E-6 6.66667E-6 C 0.00032 0.01991 -0.00032 0.03982 0.00096 0.05973 C 0.00128 0.06436 0.00288 0.04584 0.00288 0.04584 C 0.0032 0.03751 0.00384 0.02917 0.00384 0.02084 C 0.00384 0.0176 0.00304 0.00788 0.00288 0.01112 C 0.00208 0.02454 0.00224 0.03797 0.00192 0.0514 C 0.00304 -0.12314 0.00288 -0.04953 0.00288 -0.16944 " pathEditMode="relative" ptsTypes="ffffffA">
                                      <p:cBhvr>
                                        <p:cTn id="8" dur="7000" fill="hold"/>
                                        <p:tgtEl>
                                          <p:spTgt spid="6"/>
                                        </p:tgtEl>
                                        <p:attrNameLst>
                                          <p:attrName>ppt_x</p:attrName>
                                          <p:attrName>ppt_y</p:attrName>
                                        </p:attrNameLst>
                                      </p:cBhvr>
                                    </p:animMotion>
                                  </p:childTnLst>
                                </p:cTn>
                              </p:par>
                              <p:par>
                                <p:cTn id="9" presetID="0" presetClass="path" presetSubtype="0" accel="50000" decel="50000" fill="hold" grpId="0" nodeType="withEffect">
                                  <p:stCondLst>
                                    <p:cond delay="0"/>
                                  </p:stCondLst>
                                  <p:childTnLst>
                                    <p:animMotion origin="layout" path="M -3.58974E-6 3.33333E-6 C -0.00032 0.0537 -0.00032 0.1074 -0.00064 0.16111 C -0.00064 0.16527 -0.0008 0.16944 -0.00096 0.17361 C -0.00144 0.19467 -0.00192 0.21527 -0.00272 0.23611 C -0.00304 0.24583 -0.00352 0.26527 -0.00352 0.26551 C -0.00432 0.33981 -0.00272 0.41481 -0.0048 0.48889 C -0.00464 0.39305 -0.00448 0.29722 -0.004 0.20139 C -0.00384 0.17199 -0.00224 0.14305 -0.00224 0.11389 " pathEditMode="relative" rAng="0" ptsTypes="fffffffA">
                                      <p:cBhvr>
                                        <p:cTn id="10" dur="7000" fill="hold"/>
                                        <p:tgtEl>
                                          <p:spTgt spid="12"/>
                                        </p:tgtEl>
                                        <p:attrNameLst>
                                          <p:attrName>ppt_x</p:attrName>
                                          <p:attrName>ppt_y</p:attrName>
                                        </p:attrNameLst>
                                      </p:cBhvr>
                                      <p:rCtr x="-240" y="24444"/>
                                    </p:animMotion>
                                  </p:childTnLst>
                                </p:cTn>
                              </p:par>
                              <p:par>
                                <p:cTn id="11" presetID="0" presetClass="path" presetSubtype="0" accel="50000" decel="50000" fill="hold" grpId="0" nodeType="withEffect">
                                  <p:stCondLst>
                                    <p:cond delay="0"/>
                                  </p:stCondLst>
                                  <p:childTnLst>
                                    <p:animMotion origin="layout" path="M -2.05128E-6 -0.03241 C -2.05128E-6 -0.18935 0.00032 -0.33889 0.00112 -0.49329 C 0.00096 -0.50254 0.00144 -0.51204 0.00096 -0.52106 C 0.00064 -0.52662 0.00064 -0.50949 0.00064 -0.5037 C 0.00048 -0.48102 0.00064 -0.45833 0.00032 -0.43541 C 0.00016 -0.39676 -0.00192 -0.3581 -0.00256 -0.31967 C -0.00288 -0.27847 -0.00288 -0.23704 -0.00288 -0.19583 " pathEditMode="relative" rAng="0" ptsTypes="ffffffA">
                                      <p:cBhvr>
                                        <p:cTn id="12" dur="7000" fill="hold"/>
                                        <p:tgtEl>
                                          <p:spTgt spid="13"/>
                                        </p:tgtEl>
                                        <p:attrNameLst>
                                          <p:attrName>ppt_x</p:attrName>
                                          <p:attrName>ppt_y</p:attrName>
                                        </p:attrNameLst>
                                      </p:cBhvr>
                                      <p:rCtr x="-80" y="-24722"/>
                                    </p:animMotion>
                                  </p:childTnLst>
                                </p:cTn>
                              </p:par>
                              <p:par>
                                <p:cTn id="13" presetID="0" presetClass="path" presetSubtype="0" accel="50000" decel="50000" fill="hold" grpId="0" nodeType="withEffect">
                                  <p:stCondLst>
                                    <p:cond delay="0"/>
                                  </p:stCondLst>
                                  <p:childTnLst>
                                    <p:animMotion origin="layout" path="M 5.12821E-7 -3.33333E-6 C -0.00096 -0.02268 -0.00064 -0.04537 -0.00176 -0.06805 C -0.00192 -0.07129 -0.0024 -0.06157 -0.00272 -0.05833 C -0.00337 -0.05069 -0.00353 -0.05023 -0.00433 -0.04305 C -0.00417 -0.03564 -0.00433 -0.02824 -0.00353 -0.02083 C -0.00337 -0.01875 -0.00208 -0.01319 -0.00176 -0.01527 C -0.00128 -0.01898 -0.0024 -0.02268 -0.00272 -0.02639 C -0.00321 -0.05602 -0.00433 -0.08171 -0.00272 -0.11111 C -0.00192 -0.12361 -0.00096 -0.06342 -0.00096 -0.08889 C -0.00096 -0.11666 -0.00272 -0.14444 -0.00272 -0.17222 " pathEditMode="relative" rAng="0" ptsTypes="fffffffffA">
                                      <p:cBhvr>
                                        <p:cTn id="14" dur="7000" fill="hold"/>
                                        <p:tgtEl>
                                          <p:spTgt spid="14"/>
                                        </p:tgtEl>
                                        <p:attrNameLst>
                                          <p:attrName>ppt_x</p:attrName>
                                          <p:attrName>ppt_y</p:attrName>
                                        </p:attrNameLst>
                                      </p:cBhvr>
                                      <p:rCtr x="-224" y="-8611"/>
                                    </p:animMotion>
                                  </p:childTnLst>
                                </p:cTn>
                              </p:par>
                              <p:par>
                                <p:cTn id="15" presetID="0" presetClass="path" presetSubtype="0" accel="50000" decel="50000" fill="hold" grpId="0" nodeType="withEffect">
                                  <p:stCondLst>
                                    <p:cond delay="0"/>
                                  </p:stCondLst>
                                  <p:childTnLst>
                                    <p:animMotion origin="layout" path="M -5.12821E-7 0 C -0.00032 -0.01667 -0.00048 -0.03333 -0.00064 -0.05 C -0.00112 -0.1 -0.0016 -0.15 -0.00224 -0.2 C -0.00224 -0.20741 -0.0024 -0.21481 -0.0024 -0.22222 C -0.00256 -0.23981 -0.00288 -0.275 -0.00288 -0.27477 C -0.00288 -0.33009 -0.00288 -0.38519 -0.00272 -0.44028 C -0.00272 -0.44352 -0.00256 -0.4338 -0.0024 -0.43056 C -0.00224 -0.41667 -0.00224 -0.40278 -0.00192 -0.38889 C -0.00128 -0.35856 -0.00032 -0.32708 0.0008 -0.29722 C 0.00176 -0.2088 0.00064 -0.30741 0.00128 -0.08056 C 0.00128 -0.07361 0.00176 -0.06273 0.00128 -0.075 C 0.0008 -0.1037 0.00096 -0.08426 0.00096 -0.13333 " pathEditMode="relative" rAng="0" ptsTypes="fffffffffffA">
                                      <p:cBhvr>
                                        <p:cTn id="16" dur="7000" fill="hold"/>
                                        <p:tgtEl>
                                          <p:spTgt spid="15"/>
                                        </p:tgtEl>
                                        <p:attrNameLst>
                                          <p:attrName>ppt_x</p:attrName>
                                          <p:attrName>ppt_y</p:attrName>
                                        </p:attrNameLst>
                                      </p:cBhvr>
                                      <p:rCtr x="-64" y="-22176"/>
                                    </p:animMotion>
                                  </p:childTnLst>
                                </p:cTn>
                              </p:par>
                              <p:par>
                                <p:cTn id="17" presetID="0" presetClass="path" presetSubtype="0" accel="50000" decel="50000" fill="hold" grpId="0" nodeType="withEffect">
                                  <p:stCondLst>
                                    <p:cond delay="0"/>
                                  </p:stCondLst>
                                  <p:childTnLst>
                                    <p:animMotion origin="layout" path="M -1.02564E-6 4.44444E-6 C -0.00016 -0.00695 -0.00064 -0.01389 -0.00064 -0.02084 C -0.00064 -0.04537 -0.00192 -0.11875 -1.02564E-6 -0.09445 C 0.0024 -0.06436 0.0008 -0.03334 0.0008 -0.00278 C 0.0008 0.00509 0.00032 -0.01852 -1.02564E-6 -0.02639 C -0.00016 -0.08565 -0.00064 -0.20417 -0.00064 -0.20394 " pathEditMode="relative" rAng="0" ptsTypes="fffffA">
                                      <p:cBhvr>
                                        <p:cTn id="18" dur="7000" fill="hold"/>
                                        <p:tgtEl>
                                          <p:spTgt spid="16"/>
                                        </p:tgtEl>
                                        <p:attrNameLst>
                                          <p:attrName>ppt_x</p:attrName>
                                          <p:attrName>ppt_y</p:attrName>
                                        </p:attrNameLst>
                                      </p:cBhvr>
                                      <p:rCtr x="16" y="-9954"/>
                                    </p:animMotion>
                                  </p:childTnLst>
                                </p:cTn>
                              </p:par>
                              <p:par>
                                <p:cTn id="19" presetID="0" presetClass="path" presetSubtype="0" accel="50000" decel="50000" fill="hold" grpId="0" nodeType="withEffect">
                                  <p:stCondLst>
                                    <p:cond delay="0"/>
                                  </p:stCondLst>
                                  <p:childTnLst>
                                    <p:animMotion origin="layout" path="M 1.11022E-16 -0.01666 C -0.00497 0.04884 -0.00208 0.28079 -0.00032 0.1875 C -0.00032 0.02408 -0.00048 -0.13958 0.0008 -0.30278 C 0.00064 -0.33426 0.00096 -0.36574 0.00048 -0.39722 C 0.00032 -0.4162 0.00032 -0.35926 0.00032 -0.34028 C 0.00016 -0.31203 1.11022E-16 -0.28379 1.11022E-16 -0.25555 C 1.11022E-16 -0.17037 1.11022E-16 -0.08518 1.11022E-16 -2.22222E-6 " pathEditMode="relative" rAng="0" ptsTypes="ffffffA">
                                      <p:cBhvr>
                                        <p:cTn id="20" dur="7000" fill="hold"/>
                                        <p:tgtEl>
                                          <p:spTgt spid="17"/>
                                        </p:tgtEl>
                                        <p:attrNameLst>
                                          <p:attrName>ppt_x</p:attrName>
                                          <p:attrName>ppt_y</p:attrName>
                                        </p:attrNameLst>
                                      </p:cBhvr>
                                      <p:rCtr x="-208" y="-5116"/>
                                    </p:animMotion>
                                  </p:childTnLst>
                                </p:cTn>
                              </p:par>
                            </p:childTnLst>
                          </p:cTn>
                        </p:par>
                        <p:par>
                          <p:cTn id="21" fill="hold">
                            <p:stCondLst>
                              <p:cond delay="7000"/>
                            </p:stCondLst>
                            <p:childTnLst>
                              <p:par>
                                <p:cTn id="22" presetID="42" presetClass="path" presetSubtype="0" accel="50000" decel="50000" fill="hold" grpId="1" nodeType="afterEffect">
                                  <p:stCondLst>
                                    <p:cond delay="0"/>
                                  </p:stCondLst>
                                  <p:childTnLst>
                                    <p:animMotion origin="layout" path="M 1.02564E-6 1.11022E-16 L 1.02564E-6 0.25 " pathEditMode="relative" rAng="0" ptsTypes="AA">
                                      <p:cBhvr>
                                        <p:cTn id="23" dur="5000" fill="hold"/>
                                        <p:tgtEl>
                                          <p:spTgt spid="11"/>
                                        </p:tgtEl>
                                        <p:attrNameLst>
                                          <p:attrName>ppt_x</p:attrName>
                                          <p:attrName>ppt_y</p:attrName>
                                        </p:attrNameLst>
                                      </p:cBhvr>
                                      <p:rCtr x="0" y="12500"/>
                                    </p:animMotion>
                                  </p:childTnLst>
                                </p:cTn>
                              </p:par>
                              <p:par>
                                <p:cTn id="24" presetID="42" presetClass="path" presetSubtype="0" accel="50000" decel="50000" fill="hold" grpId="1" nodeType="withEffect">
                                  <p:stCondLst>
                                    <p:cond delay="0"/>
                                  </p:stCondLst>
                                  <p:childTnLst>
                                    <p:animMotion origin="layout" path="M 0.00288 -0.16945 L 0.00288 0.08055 " pathEditMode="relative" rAng="0" ptsTypes="AA">
                                      <p:cBhvr>
                                        <p:cTn id="25" dur="5000" fill="hold"/>
                                        <p:tgtEl>
                                          <p:spTgt spid="6"/>
                                        </p:tgtEl>
                                        <p:attrNameLst>
                                          <p:attrName>ppt_x</p:attrName>
                                          <p:attrName>ppt_y</p:attrName>
                                        </p:attrNameLst>
                                      </p:cBhvr>
                                      <p:rCtr x="0" y="12500"/>
                                    </p:animMotion>
                                  </p:childTnLst>
                                </p:cTn>
                              </p:par>
                              <p:par>
                                <p:cTn id="26" presetID="42" presetClass="path" presetSubtype="0" accel="50000" decel="50000" fill="hold" grpId="1" nodeType="withEffect">
                                  <p:stCondLst>
                                    <p:cond delay="0"/>
                                  </p:stCondLst>
                                  <p:childTnLst>
                                    <p:animMotion origin="layout" path="M -0.00225 0.11389 L -0.00225 0.36389 " pathEditMode="relative" rAng="0" ptsTypes="AA">
                                      <p:cBhvr>
                                        <p:cTn id="27" dur="5000" fill="hold"/>
                                        <p:tgtEl>
                                          <p:spTgt spid="12"/>
                                        </p:tgtEl>
                                        <p:attrNameLst>
                                          <p:attrName>ppt_x</p:attrName>
                                          <p:attrName>ppt_y</p:attrName>
                                        </p:attrNameLst>
                                      </p:cBhvr>
                                      <p:rCtr x="0" y="12500"/>
                                    </p:animMotion>
                                  </p:childTnLst>
                                </p:cTn>
                              </p:par>
                              <p:par>
                                <p:cTn id="28" presetID="42" presetClass="path" presetSubtype="0" accel="50000" decel="50000" fill="hold" grpId="1" nodeType="withEffect">
                                  <p:stCondLst>
                                    <p:cond delay="0"/>
                                  </p:stCondLst>
                                  <p:childTnLst>
                                    <p:animMotion origin="layout" path="M -0.00288 -0.19583 L -0.00288 0.05417 " pathEditMode="relative" rAng="0" ptsTypes="AA">
                                      <p:cBhvr>
                                        <p:cTn id="29" dur="5000" fill="hold"/>
                                        <p:tgtEl>
                                          <p:spTgt spid="13"/>
                                        </p:tgtEl>
                                        <p:attrNameLst>
                                          <p:attrName>ppt_x</p:attrName>
                                          <p:attrName>ppt_y</p:attrName>
                                        </p:attrNameLst>
                                      </p:cBhvr>
                                      <p:rCtr x="0" y="12500"/>
                                    </p:animMotion>
                                  </p:childTnLst>
                                </p:cTn>
                              </p:par>
                              <p:par>
                                <p:cTn id="30" presetID="42" presetClass="path" presetSubtype="0" accel="50000" decel="50000" fill="hold" grpId="1" nodeType="withEffect">
                                  <p:stCondLst>
                                    <p:cond delay="0"/>
                                  </p:stCondLst>
                                  <p:childTnLst>
                                    <p:animMotion origin="layout" path="M -0.00273 -0.17222 L -0.00273 0.07778 " pathEditMode="relative" rAng="0" ptsTypes="AA">
                                      <p:cBhvr>
                                        <p:cTn id="31" dur="5000" fill="hold"/>
                                        <p:tgtEl>
                                          <p:spTgt spid="14"/>
                                        </p:tgtEl>
                                        <p:attrNameLst>
                                          <p:attrName>ppt_x</p:attrName>
                                          <p:attrName>ppt_y</p:attrName>
                                        </p:attrNameLst>
                                      </p:cBhvr>
                                      <p:rCtr x="0" y="12500"/>
                                    </p:animMotion>
                                  </p:childTnLst>
                                </p:cTn>
                              </p:par>
                              <p:par>
                                <p:cTn id="32" presetID="42" presetClass="path" presetSubtype="0" accel="50000" decel="50000" fill="hold" grpId="1" nodeType="withEffect">
                                  <p:stCondLst>
                                    <p:cond delay="0"/>
                                  </p:stCondLst>
                                  <p:childTnLst>
                                    <p:animMotion origin="layout" path="M 0.00096 -0.13334 L 0.00096 0.11666 " pathEditMode="relative" rAng="0" ptsTypes="AA">
                                      <p:cBhvr>
                                        <p:cTn id="33" dur="5000" fill="hold"/>
                                        <p:tgtEl>
                                          <p:spTgt spid="15"/>
                                        </p:tgtEl>
                                        <p:attrNameLst>
                                          <p:attrName>ppt_x</p:attrName>
                                          <p:attrName>ppt_y</p:attrName>
                                        </p:attrNameLst>
                                      </p:cBhvr>
                                      <p:rCtr x="0" y="12500"/>
                                    </p:animMotion>
                                  </p:childTnLst>
                                </p:cTn>
                              </p:par>
                              <p:par>
                                <p:cTn id="34" presetID="42" presetClass="path" presetSubtype="0" accel="50000" decel="50000" fill="hold" grpId="1" nodeType="withEffect">
                                  <p:stCondLst>
                                    <p:cond delay="0"/>
                                  </p:stCondLst>
                                  <p:childTnLst>
                                    <p:animMotion origin="layout" path="M -0.00064 -0.20394 L -0.00064 0.04606 " pathEditMode="relative" rAng="0" ptsTypes="AA">
                                      <p:cBhvr>
                                        <p:cTn id="35" dur="5000" fill="hold"/>
                                        <p:tgtEl>
                                          <p:spTgt spid="16"/>
                                        </p:tgtEl>
                                        <p:attrNameLst>
                                          <p:attrName>ppt_x</p:attrName>
                                          <p:attrName>ppt_y</p:attrName>
                                        </p:attrNameLst>
                                      </p:cBhvr>
                                      <p:rCtr x="0" y="12500"/>
                                    </p:animMotion>
                                  </p:childTnLst>
                                </p:cTn>
                              </p:par>
                              <p:par>
                                <p:cTn id="36" presetID="42" presetClass="path" presetSubtype="0" accel="50000" decel="50000" fill="hold" grpId="1" nodeType="withEffect">
                                  <p:stCondLst>
                                    <p:cond delay="0"/>
                                  </p:stCondLst>
                                  <p:childTnLst>
                                    <p:animMotion origin="layout" path="M 2.05128E-6 1.11111E-6 L 2.05128E-6 0.25 " pathEditMode="relative" rAng="0" ptsTypes="AA">
                                      <p:cBhvr>
                                        <p:cTn id="37" dur="5000" fill="hold"/>
                                        <p:tgtEl>
                                          <p:spTgt spid="17"/>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ußzeilenplatzhalter 2"/>
          <p:cNvSpPr txBox="1">
            <a:spLocks/>
          </p:cNvSpPr>
          <p:nvPr/>
        </p:nvSpPr>
        <p:spPr>
          <a:xfrm>
            <a:off x="351131" y="6224213"/>
            <a:ext cx="8636409" cy="266719"/>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dirty="0">
                <a:hlinkClick r:id="rId2" tooltip="Always points to the most recent version of this publication, which is accessible with your user rights. Depending on the status of the actual version you may directed to different versions."/>
              </a:rPr>
              <a:t>http://hdl.handle.net/11858/00-001M-0000-0026-C274-7</a:t>
            </a:r>
            <a:endParaRPr lang="de-DE" sz="1200" dirty="0">
              <a:solidFill>
                <a:schemeClr val="accent6"/>
              </a:solidFill>
            </a:endParaRPr>
          </a:p>
        </p:txBody>
      </p:sp>
      <p:sp>
        <p:nvSpPr>
          <p:cNvPr id="12" name="Textplatzhalter 2"/>
          <p:cNvSpPr txBox="1">
            <a:spLocks/>
          </p:cNvSpPr>
          <p:nvPr/>
        </p:nvSpPr>
        <p:spPr>
          <a:xfrm>
            <a:off x="302340" y="398571"/>
            <a:ext cx="9603659" cy="1250615"/>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b="1" dirty="0" smtClean="0">
                <a:solidFill>
                  <a:schemeClr val="accent6"/>
                </a:solidFill>
              </a:rPr>
              <a:t>The starting point: A strong business case Enough money in the system</a:t>
            </a:r>
            <a:endParaRPr lang="en-US" sz="3600" dirty="0"/>
          </a:p>
        </p:txBody>
      </p:sp>
      <p:cxnSp>
        <p:nvCxnSpPr>
          <p:cNvPr id="10" name="Gerade Verbindung 9"/>
          <p:cNvCxnSpPr/>
          <p:nvPr/>
        </p:nvCxnSpPr>
        <p:spPr>
          <a:xfrm>
            <a:off x="826920" y="3135085"/>
            <a:ext cx="210265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a:xfrm>
            <a:off x="7093847" y="3135085"/>
            <a:ext cx="216862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Inhaltsplatzhalter 2"/>
          <p:cNvSpPr txBox="1">
            <a:spLocks/>
          </p:cNvSpPr>
          <p:nvPr/>
        </p:nvSpPr>
        <p:spPr>
          <a:xfrm>
            <a:off x="3155162" y="2206120"/>
            <a:ext cx="1368152"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600" b="1" dirty="0" smtClean="0">
                <a:solidFill>
                  <a:schemeClr val="accent2"/>
                </a:solidFill>
                <a:latin typeface="Arial" panose="020B0604020202020204" pitchFamily="34" charset="0"/>
                <a:cs typeface="Arial" panose="020B0604020202020204" pitchFamily="34" charset="0"/>
              </a:rPr>
              <a:t>Subscription market today</a:t>
            </a:r>
          </a:p>
          <a:p>
            <a:pPr algn="l"/>
            <a:r>
              <a:rPr lang="en-US" sz="2400" b="1" dirty="0" smtClean="0">
                <a:solidFill>
                  <a:schemeClr val="accent2"/>
                </a:solidFill>
                <a:latin typeface="Arial" panose="020B0604020202020204" pitchFamily="34" charset="0"/>
                <a:cs typeface="Arial" panose="020B0604020202020204" pitchFamily="34" charset="0"/>
              </a:rPr>
              <a:t>€ 7.6 </a:t>
            </a:r>
            <a:r>
              <a:rPr lang="en-US" sz="2400" b="1" dirty="0" err="1" smtClean="0">
                <a:solidFill>
                  <a:schemeClr val="accent2"/>
                </a:solidFill>
                <a:latin typeface="Arial" panose="020B0604020202020204" pitchFamily="34" charset="0"/>
                <a:cs typeface="Arial" panose="020B0604020202020204" pitchFamily="34" charset="0"/>
              </a:rPr>
              <a:t>bn</a:t>
            </a:r>
            <a:endParaRPr lang="de-DE" sz="2400" b="1" dirty="0">
              <a:solidFill>
                <a:schemeClr val="accent2"/>
              </a:solidFill>
              <a:latin typeface="Arial" panose="020B0604020202020204" pitchFamily="34" charset="0"/>
              <a:cs typeface="Arial" panose="020B0604020202020204" pitchFamily="34" charset="0"/>
            </a:endParaRPr>
          </a:p>
        </p:txBody>
      </p:sp>
      <p:sp>
        <p:nvSpPr>
          <p:cNvPr id="21" name="Inhaltsplatzhalter 2"/>
          <p:cNvSpPr txBox="1">
            <a:spLocks/>
          </p:cNvSpPr>
          <p:nvPr/>
        </p:nvSpPr>
        <p:spPr>
          <a:xfrm>
            <a:off x="5401812" y="2206120"/>
            <a:ext cx="1368152"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600" b="1" dirty="0" smtClean="0">
                <a:solidFill>
                  <a:schemeClr val="accent6"/>
                </a:solidFill>
                <a:latin typeface="Arial" panose="020B0604020202020204" pitchFamily="34" charset="0"/>
                <a:cs typeface="Arial" panose="020B0604020202020204" pitchFamily="34" charset="0"/>
              </a:rPr>
              <a:t>Transformed Open Access</a:t>
            </a:r>
          </a:p>
          <a:p>
            <a:pPr algn="l"/>
            <a:r>
              <a:rPr lang="en-US" sz="2400" b="1" dirty="0" smtClean="0">
                <a:solidFill>
                  <a:schemeClr val="accent6"/>
                </a:solidFill>
                <a:latin typeface="Arial" panose="020B0604020202020204" pitchFamily="34" charset="0"/>
                <a:cs typeface="Arial" panose="020B0604020202020204" pitchFamily="34" charset="0"/>
              </a:rPr>
              <a:t>€ 4.0 </a:t>
            </a:r>
            <a:r>
              <a:rPr lang="en-US" sz="2400" b="1" dirty="0" err="1" smtClean="0">
                <a:solidFill>
                  <a:schemeClr val="accent6"/>
                </a:solidFill>
                <a:latin typeface="Arial" panose="020B0604020202020204" pitchFamily="34" charset="0"/>
                <a:cs typeface="Arial" panose="020B0604020202020204" pitchFamily="34" charset="0"/>
              </a:rPr>
              <a:t>bn</a:t>
            </a:r>
            <a:endParaRPr lang="de-DE" sz="2400" b="1" dirty="0" smtClean="0">
              <a:solidFill>
                <a:schemeClr val="accent6"/>
              </a:solidFill>
              <a:latin typeface="Arial" panose="020B0604020202020204" pitchFamily="34" charset="0"/>
              <a:cs typeface="Arial" panose="020B0604020202020204" pitchFamily="34" charset="0"/>
            </a:endParaRPr>
          </a:p>
          <a:p>
            <a:pPr algn="l"/>
            <a:endParaRPr lang="de-DE" sz="1400" b="1" dirty="0">
              <a:solidFill>
                <a:schemeClr val="accent6"/>
              </a:solidFill>
              <a:latin typeface="Arial" panose="020B0604020202020204" pitchFamily="34" charset="0"/>
              <a:cs typeface="Arial" panose="020B0604020202020204" pitchFamily="34" charset="0"/>
            </a:endParaRPr>
          </a:p>
        </p:txBody>
      </p:sp>
      <p:sp>
        <p:nvSpPr>
          <p:cNvPr id="22" name="Inhaltsplatzhalter 2"/>
          <p:cNvSpPr txBox="1">
            <a:spLocks/>
          </p:cNvSpPr>
          <p:nvPr/>
        </p:nvSpPr>
        <p:spPr>
          <a:xfrm>
            <a:off x="5972361" y="4601099"/>
            <a:ext cx="2000694"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r"/>
            <a:r>
              <a:rPr lang="en-US" sz="1200" b="1" dirty="0" smtClean="0">
                <a:solidFill>
                  <a:schemeClr val="accent6"/>
                </a:solidFill>
                <a:latin typeface="Arial" panose="020B0604020202020204" pitchFamily="34" charset="0"/>
                <a:cs typeface="Arial" panose="020B0604020202020204" pitchFamily="34" charset="0"/>
              </a:rPr>
              <a:t>Conservative average cost per article OA publication</a:t>
            </a:r>
            <a:endParaRPr lang="de-DE" sz="1200" b="1" dirty="0">
              <a:solidFill>
                <a:schemeClr val="accent6"/>
              </a:solidFill>
              <a:latin typeface="Arial" panose="020B0604020202020204" pitchFamily="34" charset="0"/>
              <a:cs typeface="Arial" panose="020B0604020202020204" pitchFamily="34" charset="0"/>
            </a:endParaRPr>
          </a:p>
        </p:txBody>
      </p:sp>
      <p:sp>
        <p:nvSpPr>
          <p:cNvPr id="23" name="Inhaltsplatzhalter 2"/>
          <p:cNvSpPr txBox="1">
            <a:spLocks/>
          </p:cNvSpPr>
          <p:nvPr/>
        </p:nvSpPr>
        <p:spPr>
          <a:xfrm>
            <a:off x="7973055" y="3751803"/>
            <a:ext cx="1358308"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200" b="1" dirty="0" err="1" smtClean="0">
                <a:solidFill>
                  <a:schemeClr val="accent6"/>
                </a:solidFill>
                <a:latin typeface="Arial" panose="020B0604020202020204" pitchFamily="34" charset="0"/>
                <a:cs typeface="Arial" panose="020B0604020202020204" pitchFamily="34" charset="0"/>
              </a:rPr>
              <a:t>scholary</a:t>
            </a:r>
            <a:r>
              <a:rPr lang="en-US" sz="1200" b="1" dirty="0" smtClean="0">
                <a:solidFill>
                  <a:schemeClr val="accent6"/>
                </a:solidFill>
                <a:latin typeface="Arial" panose="020B0604020202020204" pitchFamily="34" charset="0"/>
                <a:cs typeface="Arial" panose="020B0604020202020204" pitchFamily="34" charset="0"/>
              </a:rPr>
              <a:t> articles</a:t>
            </a:r>
            <a:endParaRPr lang="de-DE" sz="1200" b="1" dirty="0">
              <a:solidFill>
                <a:schemeClr val="accent6"/>
              </a:solidFill>
              <a:latin typeface="Arial" panose="020B0604020202020204" pitchFamily="34" charset="0"/>
              <a:cs typeface="Arial" panose="020B0604020202020204" pitchFamily="34" charset="0"/>
            </a:endParaRPr>
          </a:p>
        </p:txBody>
      </p:sp>
      <p:sp>
        <p:nvSpPr>
          <p:cNvPr id="24" name="Inhaltsplatzhalter 2"/>
          <p:cNvSpPr txBox="1">
            <a:spLocks/>
          </p:cNvSpPr>
          <p:nvPr/>
        </p:nvSpPr>
        <p:spPr>
          <a:xfrm>
            <a:off x="845580" y="3751803"/>
            <a:ext cx="1358308"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200" b="1" dirty="0" err="1" smtClean="0">
                <a:solidFill>
                  <a:schemeClr val="tx1">
                    <a:lumMod val="50000"/>
                    <a:lumOff val="50000"/>
                  </a:schemeClr>
                </a:solidFill>
                <a:latin typeface="Arial" panose="020B0604020202020204" pitchFamily="34" charset="0"/>
                <a:cs typeface="Arial" panose="020B0604020202020204" pitchFamily="34" charset="0"/>
              </a:rPr>
              <a:t>scholary</a:t>
            </a:r>
            <a:r>
              <a:rPr lang="en-US" sz="1200" b="1" dirty="0" smtClean="0">
                <a:solidFill>
                  <a:schemeClr val="tx1">
                    <a:lumMod val="50000"/>
                    <a:lumOff val="50000"/>
                  </a:schemeClr>
                </a:solidFill>
                <a:latin typeface="Arial" panose="020B0604020202020204" pitchFamily="34" charset="0"/>
                <a:cs typeface="Arial" panose="020B0604020202020204" pitchFamily="34" charset="0"/>
              </a:rPr>
              <a:t> articles</a:t>
            </a:r>
            <a:endParaRPr lang="de-DE" sz="12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27" name="Inhaltsplatzhalter 2"/>
          <p:cNvSpPr txBox="1">
            <a:spLocks/>
          </p:cNvSpPr>
          <p:nvPr/>
        </p:nvSpPr>
        <p:spPr>
          <a:xfrm>
            <a:off x="7973055" y="3319497"/>
            <a:ext cx="1368152"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de-DE" sz="2400" b="1" dirty="0" smtClean="0">
                <a:solidFill>
                  <a:schemeClr val="accent6"/>
                </a:solidFill>
                <a:latin typeface="Arial" panose="020B0604020202020204" pitchFamily="34" charset="0"/>
                <a:cs typeface="Arial" panose="020B0604020202020204" pitchFamily="34" charset="0"/>
              </a:rPr>
              <a:t># 2m</a:t>
            </a:r>
            <a:endParaRPr lang="de-DE" sz="2400" b="1" dirty="0">
              <a:solidFill>
                <a:schemeClr val="accent6"/>
              </a:solidFill>
              <a:latin typeface="Arial" panose="020B0604020202020204" pitchFamily="34" charset="0"/>
              <a:cs typeface="Arial" panose="020B0604020202020204" pitchFamily="34" charset="0"/>
            </a:endParaRPr>
          </a:p>
        </p:txBody>
      </p:sp>
      <p:sp>
        <p:nvSpPr>
          <p:cNvPr id="28" name="Inhaltsplatzhalter 2"/>
          <p:cNvSpPr txBox="1">
            <a:spLocks/>
          </p:cNvSpPr>
          <p:nvPr/>
        </p:nvSpPr>
        <p:spPr>
          <a:xfrm>
            <a:off x="845580" y="3319497"/>
            <a:ext cx="1368152"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de-DE" sz="2400" b="1" dirty="0" smtClean="0">
                <a:solidFill>
                  <a:schemeClr val="tx1">
                    <a:lumMod val="50000"/>
                    <a:lumOff val="50000"/>
                  </a:schemeClr>
                </a:solidFill>
                <a:latin typeface="Arial" panose="020B0604020202020204" pitchFamily="34" charset="0"/>
                <a:cs typeface="Arial" panose="020B0604020202020204" pitchFamily="34" charset="0"/>
              </a:rPr>
              <a:t># 2m</a:t>
            </a:r>
            <a:endParaRPr lang="de-DE" sz="24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30" name="Inhaltsplatzhalter 2"/>
          <p:cNvSpPr txBox="1">
            <a:spLocks/>
          </p:cNvSpPr>
          <p:nvPr/>
        </p:nvSpPr>
        <p:spPr>
          <a:xfrm>
            <a:off x="7330714" y="2467015"/>
            <a:ext cx="1358308"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800" b="1" dirty="0" smtClean="0">
                <a:solidFill>
                  <a:schemeClr val="accent4"/>
                </a:solidFill>
                <a:latin typeface="Arial" panose="020B0604020202020204" pitchFamily="34" charset="0"/>
                <a:cs typeface="Arial" panose="020B0604020202020204" pitchFamily="34" charset="0"/>
              </a:rPr>
              <a:t>45% Buffer</a:t>
            </a:r>
            <a:endParaRPr lang="de-DE" sz="1800" b="1" dirty="0">
              <a:solidFill>
                <a:schemeClr val="accent4"/>
              </a:solidFill>
              <a:latin typeface="Arial" panose="020B0604020202020204" pitchFamily="34" charset="0"/>
              <a:cs typeface="Arial" panose="020B0604020202020204" pitchFamily="34" charset="0"/>
            </a:endParaRPr>
          </a:p>
        </p:txBody>
      </p:sp>
      <p:sp>
        <p:nvSpPr>
          <p:cNvPr id="32" name="Inhaltsplatzhalter 2"/>
          <p:cNvSpPr txBox="1">
            <a:spLocks/>
          </p:cNvSpPr>
          <p:nvPr/>
        </p:nvSpPr>
        <p:spPr>
          <a:xfrm>
            <a:off x="2102667" y="4600035"/>
            <a:ext cx="1736571"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200" b="1" dirty="0" smtClean="0">
                <a:solidFill>
                  <a:schemeClr val="tx1">
                    <a:lumMod val="50000"/>
                    <a:lumOff val="50000"/>
                  </a:schemeClr>
                </a:solidFill>
                <a:latin typeface="Arial" panose="020B0604020202020204" pitchFamily="34" charset="0"/>
                <a:cs typeface="Arial" panose="020B0604020202020204" pitchFamily="34" charset="0"/>
              </a:rPr>
              <a:t>Cost per article under the subscription regime</a:t>
            </a:r>
            <a:endParaRPr lang="de-DE" sz="12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34" name="Rechteck 33"/>
          <p:cNvSpPr/>
          <p:nvPr/>
        </p:nvSpPr>
        <p:spPr>
          <a:xfrm>
            <a:off x="2786744" y="1942079"/>
            <a:ext cx="1841241" cy="160998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5" name="Rechteck 34"/>
          <p:cNvSpPr/>
          <p:nvPr/>
        </p:nvSpPr>
        <p:spPr>
          <a:xfrm>
            <a:off x="5100716" y="1942079"/>
            <a:ext cx="1841241" cy="160998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36" name="Grafik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5994" y="3082675"/>
            <a:ext cx="1121500" cy="1397123"/>
          </a:xfrm>
          <a:prstGeom prst="rect">
            <a:avLst/>
          </a:prstGeom>
        </p:spPr>
      </p:pic>
      <p:pic>
        <p:nvPicPr>
          <p:cNvPr id="37" name="Grafik 36"/>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6769964" y="3082675"/>
            <a:ext cx="1121500" cy="1397123"/>
          </a:xfrm>
          <a:prstGeom prst="rect">
            <a:avLst/>
          </a:prstGeom>
        </p:spPr>
      </p:pic>
      <p:cxnSp>
        <p:nvCxnSpPr>
          <p:cNvPr id="38" name="Gerade Verbindung 37"/>
          <p:cNvCxnSpPr/>
          <p:nvPr/>
        </p:nvCxnSpPr>
        <p:spPr>
          <a:xfrm flipV="1">
            <a:off x="0" y="5173821"/>
            <a:ext cx="9906000" cy="3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9" name="Gruppieren 38"/>
          <p:cNvGrpSpPr/>
          <p:nvPr/>
        </p:nvGrpSpPr>
        <p:grpSpPr>
          <a:xfrm rot="20988821">
            <a:off x="-199003" y="4687080"/>
            <a:ext cx="2202434" cy="801822"/>
            <a:chOff x="604292" y="4616861"/>
            <a:chExt cx="1368152" cy="498091"/>
          </a:xfrm>
          <a:solidFill>
            <a:schemeClr val="bg1"/>
          </a:solidFill>
        </p:grpSpPr>
        <p:pic>
          <p:nvPicPr>
            <p:cNvPr id="40" name="Grafik 39"/>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tretch>
              <a:fillRect/>
            </a:stretch>
          </p:blipFill>
          <p:spPr>
            <a:xfrm flipH="1">
              <a:off x="857763" y="4616861"/>
              <a:ext cx="1005940" cy="349892"/>
            </a:xfrm>
            <a:prstGeom prst="rect">
              <a:avLst/>
            </a:prstGeom>
            <a:solidFill>
              <a:schemeClr val="bg1"/>
            </a:solidFill>
          </p:spPr>
        </p:pic>
        <p:sp>
          <p:nvSpPr>
            <p:cNvPr id="41" name="Inhaltsplatzhalter 2"/>
            <p:cNvSpPr txBox="1">
              <a:spLocks/>
            </p:cNvSpPr>
            <p:nvPr/>
          </p:nvSpPr>
          <p:spPr>
            <a:xfrm>
              <a:off x="604292" y="4664460"/>
              <a:ext cx="1368152" cy="450492"/>
            </a:xfrm>
            <a:prstGeom prst="rect">
              <a:avLst/>
            </a:prstGeom>
            <a:noFill/>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r>
                <a:rPr lang="en-US" sz="2400" b="1" dirty="0" smtClean="0">
                  <a:solidFill>
                    <a:schemeClr val="tx1">
                      <a:lumMod val="50000"/>
                      <a:lumOff val="50000"/>
                    </a:schemeClr>
                  </a:solidFill>
                  <a:latin typeface="Arial" panose="020B0604020202020204" pitchFamily="34" charset="0"/>
                  <a:cs typeface="Arial" panose="020B0604020202020204" pitchFamily="34" charset="0"/>
                </a:rPr>
                <a:t>€ 3,800</a:t>
              </a:r>
              <a:endParaRPr lang="de-DE" sz="2400" b="1" dirty="0">
                <a:solidFill>
                  <a:schemeClr val="tx1">
                    <a:lumMod val="50000"/>
                    <a:lumOff val="50000"/>
                  </a:schemeClr>
                </a:solidFill>
                <a:latin typeface="Arial" panose="020B0604020202020204" pitchFamily="34" charset="0"/>
                <a:cs typeface="Arial" panose="020B0604020202020204" pitchFamily="34" charset="0"/>
              </a:endParaRPr>
            </a:p>
          </p:txBody>
        </p:sp>
      </p:grpSp>
      <p:pic>
        <p:nvPicPr>
          <p:cNvPr id="42" name="Grafik 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195069">
            <a:off x="8148871" y="4626895"/>
            <a:ext cx="1492601" cy="529942"/>
          </a:xfrm>
          <a:prstGeom prst="rect">
            <a:avLst/>
          </a:prstGeom>
          <a:solidFill>
            <a:schemeClr val="bg1"/>
          </a:solidFill>
        </p:spPr>
      </p:pic>
      <p:sp>
        <p:nvSpPr>
          <p:cNvPr id="43" name="Inhaltsplatzhalter 2"/>
          <p:cNvSpPr txBox="1">
            <a:spLocks/>
          </p:cNvSpPr>
          <p:nvPr/>
        </p:nvSpPr>
        <p:spPr>
          <a:xfrm rot="1195069">
            <a:off x="7799625" y="4755055"/>
            <a:ext cx="2381298" cy="682310"/>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r>
              <a:rPr lang="en-US" sz="2400" b="1" dirty="0" smtClean="0">
                <a:solidFill>
                  <a:schemeClr val="accent6"/>
                </a:solidFill>
                <a:latin typeface="Arial" panose="020B0604020202020204" pitchFamily="34" charset="0"/>
                <a:cs typeface="Arial" panose="020B0604020202020204" pitchFamily="34" charset="0"/>
              </a:rPr>
              <a:t>€ 2,000</a:t>
            </a:r>
            <a:endParaRPr lang="de-DE" sz="2400" b="1" dirty="0">
              <a:solidFill>
                <a:schemeClr val="accent6"/>
              </a:solidFill>
              <a:latin typeface="Arial" panose="020B0604020202020204" pitchFamily="34" charset="0"/>
              <a:cs typeface="Arial" panose="020B0604020202020204" pitchFamily="34" charset="0"/>
            </a:endParaRPr>
          </a:p>
        </p:txBody>
      </p:sp>
      <p:sp>
        <p:nvSpPr>
          <p:cNvPr id="44" name="Foliennummernplatzhalter 2"/>
          <p:cNvSpPr>
            <a:spLocks noGrp="1"/>
          </p:cNvSpPr>
          <p:nvPr>
            <p:ph type="sldNum" sz="quarter" idx="12"/>
          </p:nvPr>
        </p:nvSpPr>
        <p:spPr>
          <a:xfrm>
            <a:off x="8931442" y="6592861"/>
            <a:ext cx="773912" cy="167164"/>
          </a:xfrm>
        </p:spPr>
        <p:txBody>
          <a:bodyPr/>
          <a:lstStyle/>
          <a:p>
            <a:fld id="{4AD1E780-DE1C-4ECA-B5E5-863D0BC53287}" type="slidenum">
              <a:rPr lang="de-DE" smtClean="0"/>
              <a:pPr/>
              <a:t>21</a:t>
            </a:fld>
            <a:endParaRPr lang="de-DE" dirty="0"/>
          </a:p>
        </p:txBody>
      </p:sp>
      <p:sp>
        <p:nvSpPr>
          <p:cNvPr id="46" name="Fußzeilenplatzhalter 2"/>
          <p:cNvSpPr txBox="1">
            <a:spLocks/>
          </p:cNvSpPr>
          <p:nvPr/>
        </p:nvSpPr>
        <p:spPr>
          <a:xfrm>
            <a:off x="351130" y="6515476"/>
            <a:ext cx="8636409" cy="266719"/>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dirty="0" smtClean="0">
                <a:hlinkClick r:id="rId7"/>
              </a:rPr>
              <a:t>https</a:t>
            </a:r>
            <a:r>
              <a:rPr lang="en-GB" sz="1200" dirty="0">
                <a:hlinkClick r:id="rId7"/>
              </a:rPr>
              <a:t>://treemaps.intact-project.org/apcdata/openapc</a:t>
            </a:r>
            <a:r>
              <a:rPr lang="en-GB" sz="1200" dirty="0" smtClean="0">
                <a:hlinkClick r:id="rId7"/>
              </a:rPr>
              <a:t>/</a:t>
            </a:r>
            <a:r>
              <a:rPr lang="en-GB" sz="1200" dirty="0" smtClean="0"/>
              <a:t> </a:t>
            </a:r>
            <a:endParaRPr lang="de-DE" sz="1200" dirty="0">
              <a:solidFill>
                <a:schemeClr val="accent6"/>
              </a:solidFill>
            </a:endParaRPr>
          </a:p>
        </p:txBody>
      </p:sp>
    </p:spTree>
    <p:extLst>
      <p:ext uri="{BB962C8B-B14F-4D97-AF65-F5344CB8AC3E}">
        <p14:creationId xmlns:p14="http://schemas.microsoft.com/office/powerpoint/2010/main" val="6908387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22</a:t>
            </a:fld>
            <a:endParaRPr lang="de-DE" dirty="0"/>
          </a:p>
        </p:txBody>
      </p:sp>
      <p:sp>
        <p:nvSpPr>
          <p:cNvPr id="5" name="Textplatzhalter 2"/>
          <p:cNvSpPr txBox="1">
            <a:spLocks/>
          </p:cNvSpPr>
          <p:nvPr/>
        </p:nvSpPr>
        <p:spPr>
          <a:xfrm>
            <a:off x="249073" y="38189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The real </a:t>
            </a:r>
            <a:r>
              <a:rPr lang="de-DE" sz="3600" b="1" dirty="0" err="1" smtClean="0">
                <a:solidFill>
                  <a:schemeClr val="accent6"/>
                </a:solidFill>
              </a:rPr>
              <a:t>costs</a:t>
            </a:r>
            <a:r>
              <a:rPr lang="de-DE" sz="3600" b="1" dirty="0" smtClean="0">
                <a:solidFill>
                  <a:schemeClr val="accent6"/>
                </a:solidFill>
              </a:rPr>
              <a:t> </a:t>
            </a:r>
            <a:r>
              <a:rPr lang="de-DE" sz="3600" b="1" dirty="0" err="1" smtClean="0">
                <a:solidFill>
                  <a:schemeClr val="accent6"/>
                </a:solidFill>
              </a:rPr>
              <a:t>of</a:t>
            </a:r>
            <a:r>
              <a:rPr lang="de-DE" sz="3600" b="1" dirty="0" smtClean="0">
                <a:solidFill>
                  <a:schemeClr val="accent6"/>
                </a:solidFill>
              </a:rPr>
              <a:t> OA </a:t>
            </a:r>
            <a:r>
              <a:rPr lang="de-DE" sz="3600" b="1" dirty="0" err="1" smtClean="0">
                <a:solidFill>
                  <a:schemeClr val="accent6"/>
                </a:solidFill>
              </a:rPr>
              <a:t>publishing</a:t>
            </a:r>
            <a:endParaRPr lang="de-DE" sz="3600" dirty="0"/>
          </a:p>
        </p:txBody>
      </p:sp>
      <p:sp>
        <p:nvSpPr>
          <p:cNvPr id="6" name="TextBox 5"/>
          <p:cNvSpPr txBox="1"/>
          <p:nvPr/>
        </p:nvSpPr>
        <p:spPr>
          <a:xfrm>
            <a:off x="302341" y="6223529"/>
            <a:ext cx="6697889" cy="307777"/>
          </a:xfrm>
          <a:prstGeom prst="rect">
            <a:avLst/>
          </a:prstGeom>
          <a:noFill/>
        </p:spPr>
        <p:txBody>
          <a:bodyPr wrap="square" rtlCol="0">
            <a:spAutoFit/>
          </a:bodyPr>
          <a:lstStyle/>
          <a:p>
            <a:r>
              <a:rPr lang="en-GB" sz="1400" dirty="0">
                <a:hlinkClick r:id="rId3"/>
              </a:rPr>
              <a:t>https://treemaps.intact-project.org</a:t>
            </a:r>
            <a:r>
              <a:rPr lang="en-GB" sz="1400" dirty="0" smtClean="0">
                <a:hlinkClick r:id="rId3"/>
              </a:rPr>
              <a:t>/</a:t>
            </a:r>
            <a:r>
              <a:rPr lang="en-GB" sz="1400" dirty="0" smtClean="0"/>
              <a:t> </a:t>
            </a:r>
            <a:endParaRPr lang="en-GB" sz="1400" dirty="0"/>
          </a:p>
        </p:txBody>
      </p:sp>
      <p:pic>
        <p:nvPicPr>
          <p:cNvPr id="7" name="Picture 6"/>
          <p:cNvPicPr>
            <a:picLocks noChangeAspect="1"/>
          </p:cNvPicPr>
          <p:nvPr/>
        </p:nvPicPr>
        <p:blipFill>
          <a:blip r:embed="rId4"/>
          <a:stretch>
            <a:fillRect/>
          </a:stretch>
        </p:blipFill>
        <p:spPr>
          <a:xfrm>
            <a:off x="302341" y="1172831"/>
            <a:ext cx="8987228" cy="4588097"/>
          </a:xfrm>
          <a:prstGeom prst="rect">
            <a:avLst/>
          </a:prstGeom>
        </p:spPr>
      </p:pic>
    </p:spTree>
    <p:extLst>
      <p:ext uri="{BB962C8B-B14F-4D97-AF65-F5344CB8AC3E}">
        <p14:creationId xmlns:p14="http://schemas.microsoft.com/office/powerpoint/2010/main" val="324227578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23</a:t>
            </a:fld>
            <a:endParaRPr lang="de-DE" dirty="0"/>
          </a:p>
        </p:txBody>
      </p:sp>
      <p:sp>
        <p:nvSpPr>
          <p:cNvPr id="5" name="Textplatzhalter 2"/>
          <p:cNvSpPr txBox="1">
            <a:spLocks/>
          </p:cNvSpPr>
          <p:nvPr/>
        </p:nvSpPr>
        <p:spPr>
          <a:xfrm>
            <a:off x="249073" y="38189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The real </a:t>
            </a:r>
            <a:r>
              <a:rPr lang="de-DE" sz="3600" b="1" dirty="0" err="1" smtClean="0">
                <a:solidFill>
                  <a:schemeClr val="accent6"/>
                </a:solidFill>
              </a:rPr>
              <a:t>costs</a:t>
            </a:r>
            <a:r>
              <a:rPr lang="de-DE" sz="3600" b="1" dirty="0" smtClean="0">
                <a:solidFill>
                  <a:schemeClr val="accent6"/>
                </a:solidFill>
              </a:rPr>
              <a:t> </a:t>
            </a:r>
            <a:r>
              <a:rPr lang="de-DE" sz="3600" b="1" dirty="0" err="1" smtClean="0">
                <a:solidFill>
                  <a:schemeClr val="accent6"/>
                </a:solidFill>
              </a:rPr>
              <a:t>of</a:t>
            </a:r>
            <a:r>
              <a:rPr lang="de-DE" sz="3600" b="1" dirty="0" smtClean="0">
                <a:solidFill>
                  <a:schemeClr val="accent6"/>
                </a:solidFill>
              </a:rPr>
              <a:t> OA </a:t>
            </a:r>
            <a:r>
              <a:rPr lang="de-DE" sz="3600" b="1" dirty="0" err="1" smtClean="0">
                <a:solidFill>
                  <a:schemeClr val="accent6"/>
                </a:solidFill>
              </a:rPr>
              <a:t>publishing</a:t>
            </a:r>
            <a:endParaRPr lang="de-DE" sz="3600" dirty="0"/>
          </a:p>
        </p:txBody>
      </p:sp>
      <p:sp>
        <p:nvSpPr>
          <p:cNvPr id="6" name="TextBox 5"/>
          <p:cNvSpPr txBox="1"/>
          <p:nvPr/>
        </p:nvSpPr>
        <p:spPr>
          <a:xfrm>
            <a:off x="302341" y="6223529"/>
            <a:ext cx="6697889" cy="307777"/>
          </a:xfrm>
          <a:prstGeom prst="rect">
            <a:avLst/>
          </a:prstGeom>
          <a:noFill/>
        </p:spPr>
        <p:txBody>
          <a:bodyPr wrap="square" rtlCol="0">
            <a:spAutoFit/>
          </a:bodyPr>
          <a:lstStyle/>
          <a:p>
            <a:r>
              <a:rPr lang="en-GB" sz="1400" dirty="0">
                <a:hlinkClick r:id="rId3"/>
              </a:rPr>
              <a:t>https://treemaps.intact-project.org</a:t>
            </a:r>
            <a:r>
              <a:rPr lang="en-GB" sz="1400" dirty="0" smtClean="0">
                <a:hlinkClick r:id="rId3"/>
              </a:rPr>
              <a:t>/</a:t>
            </a:r>
            <a:r>
              <a:rPr lang="en-GB" sz="1400" dirty="0" smtClean="0"/>
              <a:t> </a:t>
            </a:r>
            <a:endParaRPr lang="en-GB" sz="1400" dirty="0"/>
          </a:p>
        </p:txBody>
      </p:sp>
      <p:pic>
        <p:nvPicPr>
          <p:cNvPr id="7" name="Picture 6"/>
          <p:cNvPicPr>
            <a:picLocks noChangeAspect="1"/>
          </p:cNvPicPr>
          <p:nvPr/>
        </p:nvPicPr>
        <p:blipFill>
          <a:blip r:embed="rId4"/>
          <a:stretch>
            <a:fillRect/>
          </a:stretch>
        </p:blipFill>
        <p:spPr>
          <a:xfrm>
            <a:off x="249073" y="1352811"/>
            <a:ext cx="9567954" cy="4420943"/>
          </a:xfrm>
          <a:prstGeom prst="rect">
            <a:avLst/>
          </a:prstGeom>
        </p:spPr>
      </p:pic>
    </p:spTree>
    <p:extLst>
      <p:ext uri="{BB962C8B-B14F-4D97-AF65-F5344CB8AC3E}">
        <p14:creationId xmlns:p14="http://schemas.microsoft.com/office/powerpoint/2010/main" val="265793640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222" name="think-cell Folie" r:id="rId5" imgW="341" imgH="340" progId="TCLayout.ActiveDocument.1">
                  <p:embed/>
                </p:oleObj>
              </mc:Choice>
              <mc:Fallback>
                <p:oleObj name="think-cell Folie" r:id="rId5" imgW="341" imgH="34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34" name="Gruppieren 33"/>
          <p:cNvGrpSpPr/>
          <p:nvPr/>
        </p:nvGrpSpPr>
        <p:grpSpPr>
          <a:xfrm>
            <a:off x="2263928" y="1256377"/>
            <a:ext cx="5178086" cy="5124283"/>
            <a:chOff x="-9573468" y="-9691059"/>
            <a:chExt cx="25666318" cy="25627107"/>
          </a:xfrm>
        </p:grpSpPr>
        <p:grpSp>
          <p:nvGrpSpPr>
            <p:cNvPr id="29" name="Gruppieren 28"/>
            <p:cNvGrpSpPr/>
            <p:nvPr/>
          </p:nvGrpSpPr>
          <p:grpSpPr>
            <a:xfrm>
              <a:off x="6186850" y="-7541099"/>
              <a:ext cx="9906000" cy="21029043"/>
              <a:chOff x="6186850" y="-7541099"/>
              <a:chExt cx="9906000" cy="21029043"/>
            </a:xfrm>
          </p:grpSpPr>
          <p:sp>
            <p:nvSpPr>
              <p:cNvPr id="7" name="Rechteck 6"/>
              <p:cNvSpPr/>
              <p:nvPr/>
            </p:nvSpPr>
            <p:spPr>
              <a:xfrm rot="18873811">
                <a:off x="3845559" y="-2746252"/>
                <a:ext cx="9906000" cy="3163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22" name="Rechteck 21"/>
              <p:cNvSpPr/>
              <p:nvPr/>
            </p:nvSpPr>
            <p:spPr>
              <a:xfrm rot="2726189" flipH="1">
                <a:off x="3900284" y="8376791"/>
                <a:ext cx="9906000" cy="3163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23" name="Rechteck 22"/>
              <p:cNvSpPr/>
              <p:nvPr/>
            </p:nvSpPr>
            <p:spPr>
              <a:xfrm flipH="1">
                <a:off x="6186850" y="2765995"/>
                <a:ext cx="9906000" cy="3147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grpSp>
        <p:sp>
          <p:nvSpPr>
            <p:cNvPr id="27" name="Rechteck 26"/>
            <p:cNvSpPr/>
            <p:nvPr/>
          </p:nvSpPr>
          <p:spPr>
            <a:xfrm rot="16200000" flipH="1">
              <a:off x="-1793133" y="-4896218"/>
              <a:ext cx="9905988" cy="31630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28" name="Rechteck 27"/>
            <p:cNvSpPr/>
            <p:nvPr/>
          </p:nvSpPr>
          <p:spPr>
            <a:xfrm rot="16200000" flipH="1">
              <a:off x="-1793129" y="10824898"/>
              <a:ext cx="9905995" cy="31630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grpSp>
          <p:nvGrpSpPr>
            <p:cNvPr id="30" name="Gruppieren 29"/>
            <p:cNvGrpSpPr/>
            <p:nvPr/>
          </p:nvGrpSpPr>
          <p:grpSpPr>
            <a:xfrm flipH="1">
              <a:off x="-9573468" y="-7541099"/>
              <a:ext cx="9906000" cy="21029039"/>
              <a:chOff x="6398272" y="-7639070"/>
              <a:chExt cx="9906000" cy="21029039"/>
            </a:xfrm>
          </p:grpSpPr>
          <p:sp>
            <p:nvSpPr>
              <p:cNvPr id="31" name="Rechteck 30"/>
              <p:cNvSpPr/>
              <p:nvPr/>
            </p:nvSpPr>
            <p:spPr>
              <a:xfrm rot="18873811">
                <a:off x="4168731" y="-2844223"/>
                <a:ext cx="9906000" cy="3163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32" name="Rechteck 31"/>
              <p:cNvSpPr/>
              <p:nvPr/>
            </p:nvSpPr>
            <p:spPr>
              <a:xfrm rot="2726189" flipH="1">
                <a:off x="4223452" y="8278816"/>
                <a:ext cx="9906000" cy="3163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33" name="Rechteck 32"/>
              <p:cNvSpPr/>
              <p:nvPr/>
            </p:nvSpPr>
            <p:spPr>
              <a:xfrm flipH="1">
                <a:off x="6398272" y="2765994"/>
                <a:ext cx="9906000" cy="3147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grpSp>
      </p:grpSp>
      <p:sp>
        <p:nvSpPr>
          <p:cNvPr id="2" name="Rechteck 1"/>
          <p:cNvSpPr/>
          <p:nvPr/>
        </p:nvSpPr>
        <p:spPr>
          <a:xfrm>
            <a:off x="5430035" y="3720699"/>
            <a:ext cx="2351957" cy="1956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8" name="Textplatzhalter 2"/>
          <p:cNvSpPr txBox="1">
            <a:spLocks/>
          </p:cNvSpPr>
          <p:nvPr/>
        </p:nvSpPr>
        <p:spPr>
          <a:xfrm>
            <a:off x="302341" y="426280"/>
            <a:ext cx="888549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But </a:t>
            </a:r>
            <a:r>
              <a:rPr lang="de-DE" sz="3600" b="1" dirty="0" err="1" smtClean="0">
                <a:solidFill>
                  <a:schemeClr val="accent6"/>
                </a:solidFill>
              </a:rPr>
              <a:t>that</a:t>
            </a:r>
            <a:r>
              <a:rPr lang="de-DE" sz="3600" b="1" dirty="0" smtClean="0">
                <a:solidFill>
                  <a:schemeClr val="accent6"/>
                </a:solidFill>
              </a:rPr>
              <a:t> </a:t>
            </a:r>
            <a:r>
              <a:rPr lang="de-DE" sz="3600" b="1" dirty="0" err="1" smtClean="0">
                <a:solidFill>
                  <a:schemeClr val="accent6"/>
                </a:solidFill>
              </a:rPr>
              <a:t>is</a:t>
            </a:r>
            <a:r>
              <a:rPr lang="de-DE" sz="3600" b="1" dirty="0" smtClean="0">
                <a:solidFill>
                  <a:schemeClr val="accent6"/>
                </a:solidFill>
              </a:rPr>
              <a:t> not all …</a:t>
            </a:r>
            <a:endParaRPr lang="de-DE" sz="3600" dirty="0"/>
          </a:p>
        </p:txBody>
      </p:sp>
      <p:pic>
        <p:nvPicPr>
          <p:cNvPr id="16" name="Grafik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48884" y="6108205"/>
            <a:ext cx="1371008" cy="636827"/>
          </a:xfrm>
          <a:prstGeom prst="rect">
            <a:avLst/>
          </a:prstGeom>
        </p:spPr>
      </p:pic>
      <p:sp>
        <p:nvSpPr>
          <p:cNvPr id="17" name="Freihandform 16"/>
          <p:cNvSpPr/>
          <p:nvPr/>
        </p:nvSpPr>
        <p:spPr>
          <a:xfrm>
            <a:off x="7648884" y="5958738"/>
            <a:ext cx="2258125" cy="60555"/>
          </a:xfrm>
          <a:custGeom>
            <a:avLst/>
            <a:gdLst>
              <a:gd name="connsiteX0" fmla="*/ 0 w 2464641"/>
              <a:gd name="connsiteY0" fmla="*/ 835677 h 835677"/>
              <a:gd name="connsiteX1" fmla="*/ 0 w 2464641"/>
              <a:gd name="connsiteY1" fmla="*/ 0 h 835677"/>
              <a:gd name="connsiteX2" fmla="*/ 2464641 w 2464641"/>
              <a:gd name="connsiteY2" fmla="*/ 0 h 835677"/>
              <a:gd name="connsiteX0" fmla="*/ 0 w 2464641"/>
              <a:gd name="connsiteY0" fmla="*/ 0 h 0"/>
              <a:gd name="connsiteX1" fmla="*/ 2464641 w 2464641"/>
              <a:gd name="connsiteY1" fmla="*/ 0 h 0"/>
            </a:gdLst>
            <a:ahLst/>
            <a:cxnLst>
              <a:cxn ang="0">
                <a:pos x="connsiteX0" y="connsiteY0"/>
              </a:cxn>
              <a:cxn ang="0">
                <a:pos x="connsiteX1" y="connsiteY1"/>
              </a:cxn>
            </a:cxnLst>
            <a:rect l="l" t="t" r="r" b="b"/>
            <a:pathLst>
              <a:path w="2464641">
                <a:moveTo>
                  <a:pt x="0" y="0"/>
                </a:moveTo>
                <a:lnTo>
                  <a:pt x="2464641" y="0"/>
                </a:lnTo>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46628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xit" presetSubtype="0" fill="hold" grpId="1" nodeType="withEffect">
                                  <p:stCondLst>
                                    <p:cond delay="500"/>
                                  </p:stCondLst>
                                  <p:childTnLst>
                                    <p:set>
                                      <p:cBhvr>
                                        <p:cTn id="8" dur="1" fill="hold">
                                          <p:stCondLst>
                                            <p:cond delay="0"/>
                                          </p:stCondLst>
                                        </p:cTn>
                                        <p:tgtEl>
                                          <p:spTgt spid="2"/>
                                        </p:tgtEl>
                                        <p:attrNameLst>
                                          <p:attrName>style.visibility</p:attrName>
                                        </p:attrNameLst>
                                      </p:cBhvr>
                                      <p:to>
                                        <p:strVal val="hidden"/>
                                      </p:to>
                                    </p:set>
                                  </p:childTnLst>
                                </p:cTn>
                              </p:par>
                              <p:par>
                                <p:cTn id="9" presetID="1" presetClass="entr" presetSubtype="0" fill="hold" grpId="3" nodeType="withEffect">
                                  <p:stCondLst>
                                    <p:cond delay="100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xit" presetSubtype="0" fill="hold" grpId="2" nodeType="withEffect">
                                  <p:stCondLst>
                                    <p:cond delay="1500"/>
                                  </p:stCondLst>
                                  <p:childTnLst>
                                    <p:set>
                                      <p:cBhvr>
                                        <p:cTn id="12" dur="1" fill="hold">
                                          <p:stCondLst>
                                            <p:cond delay="0"/>
                                          </p:stCondLst>
                                        </p:cTn>
                                        <p:tgtEl>
                                          <p:spTgt spid="2"/>
                                        </p:tgtEl>
                                        <p:attrNameLst>
                                          <p:attrName>style.visibility</p:attrName>
                                        </p:attrNameLst>
                                      </p:cBhvr>
                                      <p:to>
                                        <p:strVal val="hidden"/>
                                      </p:to>
                                    </p:set>
                                  </p:childTnLst>
                                </p:cTn>
                              </p:par>
                              <p:par>
                                <p:cTn id="13" presetID="1" presetClass="entr" presetSubtype="0" fill="hold" grpId="4" nodeType="withEffect">
                                  <p:stCondLst>
                                    <p:cond delay="200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xit" presetSubtype="0" fill="hold" grpId="5" nodeType="withEffect">
                                  <p:stCondLst>
                                    <p:cond delay="2500"/>
                                  </p:stCondLst>
                                  <p:childTnLst>
                                    <p:set>
                                      <p:cBhvr>
                                        <p:cTn id="16" dur="1" fill="hold">
                                          <p:stCondLst>
                                            <p:cond delay="0"/>
                                          </p:stCondLst>
                                        </p:cTn>
                                        <p:tgtEl>
                                          <p:spTgt spid="2"/>
                                        </p:tgtEl>
                                        <p:attrNameLst>
                                          <p:attrName>style.visibility</p:attrName>
                                        </p:attrNameLst>
                                      </p:cBhvr>
                                      <p:to>
                                        <p:strVal val="hidden"/>
                                      </p:to>
                                    </p:set>
                                  </p:childTnLst>
                                </p:cTn>
                              </p:par>
                              <p:par>
                                <p:cTn id="17" presetID="1" presetClass="entr" presetSubtype="0" fill="hold" grpId="6" nodeType="withEffect">
                                  <p:stCondLst>
                                    <p:cond delay="300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xit" presetSubtype="0" fill="hold" grpId="7" nodeType="withEffect">
                                  <p:stCondLst>
                                    <p:cond delay="3500"/>
                                  </p:stCondLst>
                                  <p:childTnLst>
                                    <p:set>
                                      <p:cBhvr>
                                        <p:cTn id="20" dur="1" fill="hold">
                                          <p:stCondLst>
                                            <p:cond delay="0"/>
                                          </p:stCondLst>
                                        </p:cTn>
                                        <p:tgtEl>
                                          <p:spTgt spid="2"/>
                                        </p:tgtEl>
                                        <p:attrNameLst>
                                          <p:attrName>style.visibility</p:attrName>
                                        </p:attrNameLst>
                                      </p:cBhvr>
                                      <p:to>
                                        <p:strVal val="hidden"/>
                                      </p:to>
                                    </p:set>
                                  </p:childTnLst>
                                </p:cTn>
                              </p:par>
                              <p:par>
                                <p:cTn id="21" presetID="1" presetClass="entr" presetSubtype="0" fill="hold" grpId="8" nodeType="withEffect">
                                  <p:stCondLst>
                                    <p:cond delay="400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xit" presetSubtype="0" fill="hold" grpId="9" nodeType="withEffect">
                                  <p:stCondLst>
                                    <p:cond delay="4400"/>
                                  </p:stCondLst>
                                  <p:childTnLst>
                                    <p:set>
                                      <p:cBhvr>
                                        <p:cTn id="24" dur="1" fill="hold">
                                          <p:stCondLst>
                                            <p:cond delay="0"/>
                                          </p:stCondLst>
                                        </p:cTn>
                                        <p:tgtEl>
                                          <p:spTgt spid="2"/>
                                        </p:tgtEl>
                                        <p:attrNameLst>
                                          <p:attrName>style.visibility</p:attrName>
                                        </p:attrNameLst>
                                      </p:cBhvr>
                                      <p:to>
                                        <p:strVal val="hidden"/>
                                      </p:to>
                                    </p:set>
                                  </p:childTnLst>
                                </p:cTn>
                              </p:par>
                              <p:par>
                                <p:cTn id="25" presetID="1" presetClass="entr" presetSubtype="0" fill="hold" grpId="10" nodeType="withEffect">
                                  <p:stCondLst>
                                    <p:cond delay="4800"/>
                                  </p:stCondLst>
                                  <p:childTnLst>
                                    <p:set>
                                      <p:cBhvr>
                                        <p:cTn id="26" dur="1" fill="hold">
                                          <p:stCondLst>
                                            <p:cond delay="0"/>
                                          </p:stCondLst>
                                        </p:cTn>
                                        <p:tgtEl>
                                          <p:spTgt spid="2"/>
                                        </p:tgtEl>
                                        <p:attrNameLst>
                                          <p:attrName>style.visibility</p:attrName>
                                        </p:attrNameLst>
                                      </p:cBhvr>
                                      <p:to>
                                        <p:strVal val="visible"/>
                                      </p:to>
                                    </p:set>
                                  </p:childTnLst>
                                </p:cTn>
                              </p:par>
                              <p:par>
                                <p:cTn id="27" presetID="1" presetClass="exit" presetSubtype="0" fill="hold" grpId="11" nodeType="withEffect">
                                  <p:stCondLst>
                                    <p:cond delay="5200"/>
                                  </p:stCondLst>
                                  <p:childTnLst>
                                    <p:set>
                                      <p:cBhvr>
                                        <p:cTn id="28" dur="1" fill="hold">
                                          <p:stCondLst>
                                            <p:cond delay="0"/>
                                          </p:stCondLst>
                                        </p:cTn>
                                        <p:tgtEl>
                                          <p:spTgt spid="2"/>
                                        </p:tgtEl>
                                        <p:attrNameLst>
                                          <p:attrName>style.visibility</p:attrName>
                                        </p:attrNameLst>
                                      </p:cBhvr>
                                      <p:to>
                                        <p:strVal val="hidden"/>
                                      </p:to>
                                    </p:set>
                                  </p:childTnLst>
                                </p:cTn>
                              </p:par>
                              <p:par>
                                <p:cTn id="29" presetID="1" presetClass="entr" presetSubtype="0" fill="hold" grpId="12" nodeType="withEffect">
                                  <p:stCondLst>
                                    <p:cond delay="5600"/>
                                  </p:stCondLst>
                                  <p:childTnLst>
                                    <p:set>
                                      <p:cBhvr>
                                        <p:cTn id="30" dur="1" fill="hold">
                                          <p:stCondLst>
                                            <p:cond delay="0"/>
                                          </p:stCondLst>
                                        </p:cTn>
                                        <p:tgtEl>
                                          <p:spTgt spid="2"/>
                                        </p:tgtEl>
                                        <p:attrNameLst>
                                          <p:attrName>style.visibility</p:attrName>
                                        </p:attrNameLst>
                                      </p:cBhvr>
                                      <p:to>
                                        <p:strVal val="visible"/>
                                      </p:to>
                                    </p:set>
                                  </p:childTnLst>
                                </p:cTn>
                              </p:par>
                              <p:par>
                                <p:cTn id="31" presetID="1" presetClass="exit" presetSubtype="0" fill="hold" grpId="13" nodeType="withEffect">
                                  <p:stCondLst>
                                    <p:cond delay="6000"/>
                                  </p:stCondLst>
                                  <p:childTnLst>
                                    <p:set>
                                      <p:cBhvr>
                                        <p:cTn id="32" dur="1" fill="hold">
                                          <p:stCondLst>
                                            <p:cond delay="0"/>
                                          </p:stCondLst>
                                        </p:cTn>
                                        <p:tgtEl>
                                          <p:spTgt spid="2"/>
                                        </p:tgtEl>
                                        <p:attrNameLst>
                                          <p:attrName>style.visibility</p:attrName>
                                        </p:attrNameLst>
                                      </p:cBhvr>
                                      <p:to>
                                        <p:strVal val="hidden"/>
                                      </p:to>
                                    </p:set>
                                  </p:childTnLst>
                                </p:cTn>
                              </p:par>
                              <p:par>
                                <p:cTn id="33" presetID="1" presetClass="entr" presetSubtype="0" fill="hold" grpId="14" nodeType="withEffect">
                                  <p:stCondLst>
                                    <p:cond delay="6400"/>
                                  </p:stCondLst>
                                  <p:childTnLst>
                                    <p:set>
                                      <p:cBhvr>
                                        <p:cTn id="34" dur="1" fill="hold">
                                          <p:stCondLst>
                                            <p:cond delay="0"/>
                                          </p:stCondLst>
                                        </p:cTn>
                                        <p:tgtEl>
                                          <p:spTgt spid="2"/>
                                        </p:tgtEl>
                                        <p:attrNameLst>
                                          <p:attrName>style.visibility</p:attrName>
                                        </p:attrNameLst>
                                      </p:cBhvr>
                                      <p:to>
                                        <p:strVal val="visible"/>
                                      </p:to>
                                    </p:set>
                                  </p:childTnLst>
                                </p:cTn>
                              </p:par>
                              <p:par>
                                <p:cTn id="35" presetID="1" presetClass="exit" presetSubtype="0" fill="hold" grpId="15" nodeType="withEffect">
                                  <p:stCondLst>
                                    <p:cond delay="6900"/>
                                  </p:stCondLst>
                                  <p:childTnLst>
                                    <p:set>
                                      <p:cBhvr>
                                        <p:cTn id="36" dur="1" fill="hold">
                                          <p:stCondLst>
                                            <p:cond delay="0"/>
                                          </p:stCondLst>
                                        </p:cTn>
                                        <p:tgtEl>
                                          <p:spTgt spid="2"/>
                                        </p:tgtEl>
                                        <p:attrNameLst>
                                          <p:attrName>style.visibility</p:attrName>
                                        </p:attrNameLst>
                                      </p:cBhvr>
                                      <p:to>
                                        <p:strVal val="hidden"/>
                                      </p:to>
                                    </p:set>
                                  </p:childTnLst>
                                </p:cTn>
                              </p:par>
                              <p:par>
                                <p:cTn id="37" presetID="1" presetClass="entr" presetSubtype="0" fill="hold" grpId="16" nodeType="withEffect">
                                  <p:stCondLst>
                                    <p:cond delay="7300"/>
                                  </p:stCondLst>
                                  <p:childTnLst>
                                    <p:set>
                                      <p:cBhvr>
                                        <p:cTn id="38" dur="1" fill="hold">
                                          <p:stCondLst>
                                            <p:cond delay="0"/>
                                          </p:stCondLst>
                                        </p:cTn>
                                        <p:tgtEl>
                                          <p:spTgt spid="2"/>
                                        </p:tgtEl>
                                        <p:attrNameLst>
                                          <p:attrName>style.visibility</p:attrName>
                                        </p:attrNameLst>
                                      </p:cBhvr>
                                      <p:to>
                                        <p:strVal val="visible"/>
                                      </p:to>
                                    </p:set>
                                  </p:childTnLst>
                                </p:cTn>
                              </p:par>
                              <p:par>
                                <p:cTn id="39" presetID="1" presetClass="exit" presetSubtype="0" fill="hold" grpId="17" nodeType="withEffect">
                                  <p:stCondLst>
                                    <p:cond delay="7800"/>
                                  </p:stCondLst>
                                  <p:childTnLst>
                                    <p:set>
                                      <p:cBhvr>
                                        <p:cTn id="40" dur="1" fill="hold">
                                          <p:stCondLst>
                                            <p:cond delay="0"/>
                                          </p:stCondLst>
                                        </p:cTn>
                                        <p:tgtEl>
                                          <p:spTgt spid="2"/>
                                        </p:tgtEl>
                                        <p:attrNameLst>
                                          <p:attrName>style.visibility</p:attrName>
                                        </p:attrNameLst>
                                      </p:cBhvr>
                                      <p:to>
                                        <p:strVal val="hidden"/>
                                      </p:to>
                                    </p:set>
                                  </p:childTnLst>
                                </p:cTn>
                              </p:par>
                              <p:par>
                                <p:cTn id="41" presetID="1" presetClass="entr" presetSubtype="0" fill="hold" grpId="18" nodeType="withEffect">
                                  <p:stCondLst>
                                    <p:cond delay="8300"/>
                                  </p:stCondLst>
                                  <p:childTnLst>
                                    <p:set>
                                      <p:cBhvr>
                                        <p:cTn id="42" dur="1" fill="hold">
                                          <p:stCondLst>
                                            <p:cond delay="0"/>
                                          </p:stCondLst>
                                        </p:cTn>
                                        <p:tgtEl>
                                          <p:spTgt spid="2"/>
                                        </p:tgtEl>
                                        <p:attrNameLst>
                                          <p:attrName>style.visibility</p:attrName>
                                        </p:attrNameLst>
                                      </p:cBhvr>
                                      <p:to>
                                        <p:strVal val="visible"/>
                                      </p:to>
                                    </p:set>
                                  </p:childTnLst>
                                </p:cTn>
                              </p:par>
                              <p:par>
                                <p:cTn id="43" presetID="1" presetClass="exit" presetSubtype="0" fill="hold" grpId="19" nodeType="withEffect">
                                  <p:stCondLst>
                                    <p:cond delay="8800"/>
                                  </p:stCondLst>
                                  <p:childTnLst>
                                    <p:set>
                                      <p:cBhvr>
                                        <p:cTn id="44" dur="1" fill="hold">
                                          <p:stCondLst>
                                            <p:cond delay="0"/>
                                          </p:stCondLst>
                                        </p:cTn>
                                        <p:tgtEl>
                                          <p:spTgt spid="2"/>
                                        </p:tgtEl>
                                        <p:attrNameLst>
                                          <p:attrName>style.visibility</p:attrName>
                                        </p:attrNameLst>
                                      </p:cBhvr>
                                      <p:to>
                                        <p:strVal val="hidden"/>
                                      </p:to>
                                    </p:set>
                                  </p:childTnLst>
                                </p:cTn>
                              </p:par>
                              <p:par>
                                <p:cTn id="45" presetID="1" presetClass="entr" presetSubtype="0" fill="hold" grpId="20" nodeType="withEffect">
                                  <p:stCondLst>
                                    <p:cond delay="9300"/>
                                  </p:stCondLst>
                                  <p:childTnLst>
                                    <p:set>
                                      <p:cBhvr>
                                        <p:cTn id="46" dur="1" fill="hold">
                                          <p:stCondLst>
                                            <p:cond delay="0"/>
                                          </p:stCondLst>
                                        </p:cTn>
                                        <p:tgtEl>
                                          <p:spTgt spid="2"/>
                                        </p:tgtEl>
                                        <p:attrNameLst>
                                          <p:attrName>style.visibility</p:attrName>
                                        </p:attrNameLst>
                                      </p:cBhvr>
                                      <p:to>
                                        <p:strVal val="visible"/>
                                      </p:to>
                                    </p:set>
                                  </p:childTnLst>
                                </p:cTn>
                              </p:par>
                              <p:par>
                                <p:cTn id="47" presetID="1" presetClass="exit" presetSubtype="0" fill="hold" grpId="21" nodeType="withEffect">
                                  <p:stCondLst>
                                    <p:cond delay="9800"/>
                                  </p:stCondLst>
                                  <p:childTnLst>
                                    <p:set>
                                      <p:cBhvr>
                                        <p:cTn id="48" dur="1" fill="hold">
                                          <p:stCondLst>
                                            <p:cond delay="0"/>
                                          </p:stCondLst>
                                        </p:cTn>
                                        <p:tgtEl>
                                          <p:spTgt spid="2"/>
                                        </p:tgtEl>
                                        <p:attrNameLst>
                                          <p:attrName>style.visibility</p:attrName>
                                        </p:attrNameLst>
                                      </p:cBhvr>
                                      <p:to>
                                        <p:strVal val="hidden"/>
                                      </p:to>
                                    </p:set>
                                  </p:childTnLst>
                                </p:cTn>
                              </p:par>
                              <p:par>
                                <p:cTn id="49" presetID="1" presetClass="entr" presetSubtype="0" fill="hold" grpId="22" nodeType="withEffect">
                                  <p:stCondLst>
                                    <p:cond delay="10300"/>
                                  </p:stCondLst>
                                  <p:childTnLst>
                                    <p:set>
                                      <p:cBhvr>
                                        <p:cTn id="50" dur="1" fill="hold">
                                          <p:stCondLst>
                                            <p:cond delay="0"/>
                                          </p:stCondLst>
                                        </p:cTn>
                                        <p:tgtEl>
                                          <p:spTgt spid="2"/>
                                        </p:tgtEl>
                                        <p:attrNameLst>
                                          <p:attrName>style.visibility</p:attrName>
                                        </p:attrNameLst>
                                      </p:cBhvr>
                                      <p:to>
                                        <p:strVal val="visible"/>
                                      </p:to>
                                    </p:set>
                                  </p:childTnLst>
                                </p:cTn>
                              </p:par>
                              <p:par>
                                <p:cTn id="51" presetID="1" presetClass="exit" presetSubtype="0" fill="hold" grpId="23" nodeType="withEffect">
                                  <p:stCondLst>
                                    <p:cond delay="10800"/>
                                  </p:stCondLst>
                                  <p:childTnLst>
                                    <p:set>
                                      <p:cBhvr>
                                        <p:cTn id="52" dur="1" fill="hold">
                                          <p:stCondLst>
                                            <p:cond delay="0"/>
                                          </p:stCondLst>
                                        </p:cTn>
                                        <p:tgtEl>
                                          <p:spTgt spid="2"/>
                                        </p:tgtEl>
                                        <p:attrNameLst>
                                          <p:attrName>style.visibility</p:attrName>
                                        </p:attrNameLst>
                                      </p:cBhvr>
                                      <p:to>
                                        <p:strVal val="hidden"/>
                                      </p:to>
                                    </p:set>
                                  </p:childTnLst>
                                </p:cTn>
                              </p:par>
                              <p:par>
                                <p:cTn id="53" presetID="1" presetClass="entr" presetSubtype="0" fill="hold" grpId="25" nodeType="withEffect">
                                  <p:stCondLst>
                                    <p:cond delay="11300"/>
                                  </p:stCondLst>
                                  <p:childTnLst>
                                    <p:set>
                                      <p:cBhvr>
                                        <p:cTn id="54" dur="1" fill="hold">
                                          <p:stCondLst>
                                            <p:cond delay="0"/>
                                          </p:stCondLst>
                                        </p:cTn>
                                        <p:tgtEl>
                                          <p:spTgt spid="2"/>
                                        </p:tgtEl>
                                        <p:attrNameLst>
                                          <p:attrName>style.visibility</p:attrName>
                                        </p:attrNameLst>
                                      </p:cBhvr>
                                      <p:to>
                                        <p:strVal val="visible"/>
                                      </p:to>
                                    </p:set>
                                  </p:childTnLst>
                                </p:cTn>
                              </p:par>
                              <p:par>
                                <p:cTn id="55" presetID="1" presetClass="exit" presetSubtype="0" fill="hold" grpId="24" nodeType="withEffect">
                                  <p:stCondLst>
                                    <p:cond delay="11700"/>
                                  </p:stCondLst>
                                  <p:childTnLst>
                                    <p:set>
                                      <p:cBhvr>
                                        <p:cTn id="56" dur="1" fill="hold">
                                          <p:stCondLst>
                                            <p:cond delay="0"/>
                                          </p:stCondLst>
                                        </p:cTn>
                                        <p:tgtEl>
                                          <p:spTgt spid="2"/>
                                        </p:tgtEl>
                                        <p:attrNameLst>
                                          <p:attrName>style.visibility</p:attrName>
                                        </p:attrNameLst>
                                      </p:cBhvr>
                                      <p:to>
                                        <p:strVal val="hidden"/>
                                      </p:to>
                                    </p:set>
                                  </p:childTnLst>
                                </p:cTn>
                              </p:par>
                              <p:par>
                                <p:cTn id="57" presetID="1" presetClass="entr" presetSubtype="0" fill="hold" grpId="26" nodeType="withEffect">
                                  <p:stCondLst>
                                    <p:cond delay="12200"/>
                                  </p:stCondLst>
                                  <p:childTnLst>
                                    <p:set>
                                      <p:cBhvr>
                                        <p:cTn id="58" dur="1" fill="hold">
                                          <p:stCondLst>
                                            <p:cond delay="0"/>
                                          </p:stCondLst>
                                        </p:cTn>
                                        <p:tgtEl>
                                          <p:spTgt spid="2"/>
                                        </p:tgtEl>
                                        <p:attrNameLst>
                                          <p:attrName>style.visibility</p:attrName>
                                        </p:attrNameLst>
                                      </p:cBhvr>
                                      <p:to>
                                        <p:strVal val="visible"/>
                                      </p:to>
                                    </p:set>
                                  </p:childTnLst>
                                </p:cTn>
                              </p:par>
                              <p:par>
                                <p:cTn id="59" presetID="1" presetClass="exit" presetSubtype="0" fill="hold" grpId="27" nodeType="withEffect">
                                  <p:stCondLst>
                                    <p:cond delay="12600"/>
                                  </p:stCondLst>
                                  <p:childTnLst>
                                    <p:set>
                                      <p:cBhvr>
                                        <p:cTn id="60" dur="1" fill="hold">
                                          <p:stCondLst>
                                            <p:cond delay="0"/>
                                          </p:stCondLst>
                                        </p:cTn>
                                        <p:tgtEl>
                                          <p:spTgt spid="2"/>
                                        </p:tgtEl>
                                        <p:attrNameLst>
                                          <p:attrName>style.visibility</p:attrName>
                                        </p:attrNameLst>
                                      </p:cBhvr>
                                      <p:to>
                                        <p:strVal val="hidden"/>
                                      </p:to>
                                    </p:set>
                                  </p:childTnLst>
                                </p:cTn>
                              </p:par>
                              <p:par>
                                <p:cTn id="61" presetID="1" presetClass="entr" presetSubtype="0" fill="hold" grpId="28" nodeType="withEffect">
                                  <p:stCondLst>
                                    <p:cond delay="13100"/>
                                  </p:stCondLst>
                                  <p:childTnLst>
                                    <p:set>
                                      <p:cBhvr>
                                        <p:cTn id="62" dur="1" fill="hold">
                                          <p:stCondLst>
                                            <p:cond delay="0"/>
                                          </p:stCondLst>
                                        </p:cTn>
                                        <p:tgtEl>
                                          <p:spTgt spid="2"/>
                                        </p:tgtEl>
                                        <p:attrNameLst>
                                          <p:attrName>style.visibility</p:attrName>
                                        </p:attrNameLst>
                                      </p:cBhvr>
                                      <p:to>
                                        <p:strVal val="visible"/>
                                      </p:to>
                                    </p:set>
                                  </p:childTnLst>
                                </p:cTn>
                              </p:par>
                              <p:par>
                                <p:cTn id="63" presetID="1" presetClass="exit" presetSubtype="0" fill="hold" grpId="29" nodeType="withEffect">
                                  <p:stCondLst>
                                    <p:cond delay="13500"/>
                                  </p:stCondLst>
                                  <p:childTnLst>
                                    <p:set>
                                      <p:cBhvr>
                                        <p:cTn id="64" dur="1" fill="hold">
                                          <p:stCondLst>
                                            <p:cond delay="0"/>
                                          </p:stCondLst>
                                        </p:cTn>
                                        <p:tgtEl>
                                          <p:spTgt spid="2"/>
                                        </p:tgtEl>
                                        <p:attrNameLst>
                                          <p:attrName>style.visibility</p:attrName>
                                        </p:attrNameLst>
                                      </p:cBhvr>
                                      <p:to>
                                        <p:strVal val="hidden"/>
                                      </p:to>
                                    </p:set>
                                  </p:childTnLst>
                                </p:cTn>
                              </p:par>
                              <p:par>
                                <p:cTn id="65" presetID="1" presetClass="entr" presetSubtype="0" fill="hold" grpId="30" nodeType="withEffect">
                                  <p:stCondLst>
                                    <p:cond delay="13900"/>
                                  </p:stCondLst>
                                  <p:childTnLst>
                                    <p:set>
                                      <p:cBhvr>
                                        <p:cTn id="66" dur="1" fill="hold">
                                          <p:stCondLst>
                                            <p:cond delay="0"/>
                                          </p:stCondLst>
                                        </p:cTn>
                                        <p:tgtEl>
                                          <p:spTgt spid="2"/>
                                        </p:tgtEl>
                                        <p:attrNameLst>
                                          <p:attrName>style.visibility</p:attrName>
                                        </p:attrNameLst>
                                      </p:cBhvr>
                                      <p:to>
                                        <p:strVal val="visible"/>
                                      </p:to>
                                    </p:set>
                                  </p:childTnLst>
                                </p:cTn>
                              </p:par>
                              <p:par>
                                <p:cTn id="67" presetID="1" presetClass="exit" presetSubtype="0" fill="hold" grpId="31" nodeType="withEffect">
                                  <p:stCondLst>
                                    <p:cond delay="14400"/>
                                  </p:stCondLst>
                                  <p:childTnLst>
                                    <p:set>
                                      <p:cBhvr>
                                        <p:cTn id="68"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2" grpId="2" animBg="1"/>
      <p:bldP spid="2" grpId="3" animBg="1"/>
      <p:bldP spid="2" grpId="4" animBg="1"/>
      <p:bldP spid="2" grpId="5" animBg="1"/>
      <p:bldP spid="2" grpId="6" animBg="1"/>
      <p:bldP spid="2" grpId="7" animBg="1"/>
      <p:bldP spid="2" grpId="8" animBg="1"/>
      <p:bldP spid="2" grpId="9" animBg="1"/>
      <p:bldP spid="2" grpId="10" animBg="1"/>
      <p:bldP spid="2" grpId="11" animBg="1"/>
      <p:bldP spid="2" grpId="12" animBg="1"/>
      <p:bldP spid="2" grpId="13" animBg="1"/>
      <p:bldP spid="2" grpId="14" animBg="1"/>
      <p:bldP spid="2" grpId="15" animBg="1"/>
      <p:bldP spid="2" grpId="16" animBg="1"/>
      <p:bldP spid="2" grpId="17" animBg="1"/>
      <p:bldP spid="2" grpId="18" animBg="1"/>
      <p:bldP spid="2" grpId="19" animBg="1"/>
      <p:bldP spid="2" grpId="20" animBg="1"/>
      <p:bldP spid="2" grpId="21" animBg="1"/>
      <p:bldP spid="2" grpId="22" animBg="1"/>
      <p:bldP spid="2" grpId="23" animBg="1"/>
      <p:bldP spid="2" grpId="24" animBg="1"/>
      <p:bldP spid="2" grpId="25" animBg="1"/>
      <p:bldP spid="2" grpId="26" animBg="1"/>
      <p:bldP spid="2" grpId="27" animBg="1"/>
      <p:bldP spid="2" grpId="28" animBg="1"/>
      <p:bldP spid="2" grpId="29" animBg="1"/>
      <p:bldP spid="2" grpId="30" animBg="1"/>
      <p:bldP spid="2" grpId="3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25</a:t>
            </a:fld>
            <a:endParaRPr lang="de-DE" dirty="0"/>
          </a:p>
        </p:txBody>
      </p:sp>
      <p:sp>
        <p:nvSpPr>
          <p:cNvPr id="4" name="Textplatzhalter 2"/>
          <p:cNvSpPr txBox="1">
            <a:spLocks/>
          </p:cNvSpPr>
          <p:nvPr/>
        </p:nvSpPr>
        <p:spPr>
          <a:xfrm>
            <a:off x="302341" y="426280"/>
            <a:ext cx="888549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Open </a:t>
            </a:r>
            <a:r>
              <a:rPr lang="de-DE" sz="3600" b="1" dirty="0" err="1" smtClean="0">
                <a:solidFill>
                  <a:schemeClr val="accent6"/>
                </a:solidFill>
              </a:rPr>
              <a:t>access</a:t>
            </a:r>
            <a:r>
              <a:rPr lang="de-DE" sz="3600" b="1" dirty="0" smtClean="0">
                <a:solidFill>
                  <a:schemeClr val="accent6"/>
                </a:solidFill>
              </a:rPr>
              <a:t> </a:t>
            </a:r>
            <a:r>
              <a:rPr lang="de-DE" sz="3600" b="1" dirty="0" err="1" smtClean="0">
                <a:solidFill>
                  <a:schemeClr val="accent6"/>
                </a:solidFill>
              </a:rPr>
              <a:t>publishing</a:t>
            </a:r>
            <a:r>
              <a:rPr lang="de-DE" sz="3600" b="1" dirty="0" smtClean="0">
                <a:solidFill>
                  <a:schemeClr val="accent6"/>
                </a:solidFill>
              </a:rPr>
              <a:t> </a:t>
            </a:r>
            <a:r>
              <a:rPr lang="de-DE" sz="3600" b="1" dirty="0" err="1" smtClean="0">
                <a:solidFill>
                  <a:schemeClr val="accent6"/>
                </a:solidFill>
              </a:rPr>
              <a:t>is</a:t>
            </a:r>
            <a:r>
              <a:rPr lang="de-DE" sz="3600" b="1" dirty="0" smtClean="0">
                <a:solidFill>
                  <a:schemeClr val="accent6"/>
                </a:solidFill>
              </a:rPr>
              <a:t> </a:t>
            </a:r>
            <a:r>
              <a:rPr lang="de-DE" sz="3600" b="1" dirty="0" err="1" smtClean="0">
                <a:solidFill>
                  <a:schemeClr val="accent6"/>
                </a:solidFill>
              </a:rPr>
              <a:t>growing</a:t>
            </a:r>
            <a:endParaRPr lang="de-DE" sz="3600" dirty="0"/>
          </a:p>
        </p:txBody>
      </p:sp>
      <p:sp>
        <p:nvSpPr>
          <p:cNvPr id="5" name="Inhaltsplatzhalter 2"/>
          <p:cNvSpPr txBox="1">
            <a:spLocks/>
          </p:cNvSpPr>
          <p:nvPr/>
        </p:nvSpPr>
        <p:spPr>
          <a:xfrm>
            <a:off x="3116135" y="2045883"/>
            <a:ext cx="4356720"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4400" b="1" dirty="0" smtClean="0">
                <a:solidFill>
                  <a:schemeClr val="accent2"/>
                </a:solidFill>
                <a:latin typeface="Arial" panose="020B0604020202020204" pitchFamily="34" charset="0"/>
                <a:cs typeface="Arial" panose="020B0604020202020204" pitchFamily="34" charset="0"/>
              </a:rPr>
              <a:t>CC data chart</a:t>
            </a:r>
            <a:endParaRPr lang="de-DE" sz="6600" b="1" dirty="0">
              <a:solidFill>
                <a:schemeClr val="accent2"/>
              </a:solidFill>
              <a:latin typeface="Arial" panose="020B0604020202020204" pitchFamily="34" charset="0"/>
              <a:cs typeface="Arial" panose="020B0604020202020204" pitchFamily="34" charset="0"/>
            </a:endParaRPr>
          </a:p>
        </p:txBody>
      </p:sp>
      <p:sp>
        <p:nvSpPr>
          <p:cNvPr id="8" name="Rectangle 7"/>
          <p:cNvSpPr/>
          <p:nvPr/>
        </p:nvSpPr>
        <p:spPr>
          <a:xfrm>
            <a:off x="1034601" y="1551709"/>
            <a:ext cx="7416673" cy="4191561"/>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GB" sz="1200" dirty="0" smtClean="0">
              <a:solidFill>
                <a:schemeClr val="tx1"/>
              </a:solidFill>
            </a:endParaRPr>
          </a:p>
        </p:txBody>
      </p:sp>
      <p:sp>
        <p:nvSpPr>
          <p:cNvPr id="6" name="TextBox 5"/>
          <p:cNvSpPr txBox="1"/>
          <p:nvPr/>
        </p:nvSpPr>
        <p:spPr>
          <a:xfrm>
            <a:off x="302341" y="6223529"/>
            <a:ext cx="6697889" cy="307777"/>
          </a:xfrm>
          <a:prstGeom prst="rect">
            <a:avLst/>
          </a:prstGeom>
          <a:noFill/>
        </p:spPr>
        <p:txBody>
          <a:bodyPr wrap="square" rtlCol="0">
            <a:spAutoFit/>
          </a:bodyPr>
          <a:lstStyle/>
          <a:p>
            <a:r>
              <a:rPr lang="en-GB" sz="1400" dirty="0">
                <a:hlinkClick r:id="rId3"/>
              </a:rPr>
              <a:t>https://</a:t>
            </a:r>
            <a:r>
              <a:rPr lang="en-GB" sz="1400" dirty="0" smtClean="0">
                <a:hlinkClick r:id="rId3"/>
              </a:rPr>
              <a:t>www.nature.com/articles/d41586-018-05191-0</a:t>
            </a:r>
            <a:r>
              <a:rPr lang="en-GB" sz="1400" dirty="0" smtClean="0"/>
              <a:t> </a:t>
            </a:r>
            <a:endParaRPr lang="en-GB" sz="1400" dirty="0"/>
          </a:p>
        </p:txBody>
      </p:sp>
    </p:spTree>
    <p:extLst>
      <p:ext uri="{BB962C8B-B14F-4D97-AF65-F5344CB8AC3E}">
        <p14:creationId xmlns:p14="http://schemas.microsoft.com/office/powerpoint/2010/main" val="11489021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AD1E780-DE1C-4ECA-B5E5-863D0BC53287}" type="slidenum">
              <a:rPr lang="de-DE" smtClean="0"/>
              <a:pPr/>
              <a:t>26</a:t>
            </a:fld>
            <a:endParaRPr lang="de-DE" dirty="0"/>
          </a:p>
        </p:txBody>
      </p:sp>
      <p:pic>
        <p:nvPicPr>
          <p:cNvPr id="6" name="Picture 2"/>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719836" y="1123951"/>
            <a:ext cx="7384308" cy="46410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feld 1"/>
          <p:cNvSpPr txBox="1"/>
          <p:nvPr/>
        </p:nvSpPr>
        <p:spPr>
          <a:xfrm>
            <a:off x="2548926" y="1821622"/>
            <a:ext cx="1863064" cy="251024"/>
          </a:xfrm>
          <a:prstGeom prst="rect">
            <a:avLst/>
          </a:prstGeom>
          <a:noFill/>
        </p:spPr>
        <p:txBody>
          <a:bodyPr wrap="square" rtlCol="0">
            <a:spAutoFit/>
          </a:bodyPr>
          <a:lstStyle/>
          <a:p>
            <a:r>
              <a:rPr lang="en-US" sz="1000" dirty="0" smtClean="0"/>
              <a:t>(OA as of 2017)</a:t>
            </a:r>
            <a:endParaRPr lang="en-US" sz="1000" dirty="0"/>
          </a:p>
        </p:txBody>
      </p:sp>
      <p:sp>
        <p:nvSpPr>
          <p:cNvPr id="8" name="TextBox 7"/>
          <p:cNvSpPr txBox="1"/>
          <p:nvPr/>
        </p:nvSpPr>
        <p:spPr>
          <a:xfrm>
            <a:off x="302341" y="6236805"/>
            <a:ext cx="7801802" cy="523220"/>
          </a:xfrm>
          <a:prstGeom prst="rect">
            <a:avLst/>
          </a:prstGeom>
          <a:noFill/>
        </p:spPr>
        <p:txBody>
          <a:bodyPr wrap="square" rtlCol="0">
            <a:spAutoFit/>
          </a:bodyPr>
          <a:lstStyle/>
          <a:p>
            <a:r>
              <a:rPr lang="en-US" sz="1400" dirty="0" smtClean="0">
                <a:solidFill>
                  <a:schemeClr val="accent6"/>
                </a:solidFill>
              </a:rPr>
              <a:t>20 largest journals, based on number of papers published in 2016. OA highlighted in grey.</a:t>
            </a:r>
          </a:p>
          <a:p>
            <a:r>
              <a:rPr lang="en-US" sz="1400" dirty="0" smtClean="0">
                <a:solidFill>
                  <a:schemeClr val="accent6"/>
                </a:solidFill>
              </a:rPr>
              <a:t>MPDL analysis based on data from </a:t>
            </a:r>
            <a:r>
              <a:rPr lang="en-US" sz="1400" b="1" i="1" dirty="0" smtClean="0">
                <a:solidFill>
                  <a:schemeClr val="accent6"/>
                </a:solidFill>
              </a:rPr>
              <a:t>Web </a:t>
            </a:r>
            <a:r>
              <a:rPr lang="en-US" sz="1400" b="1" i="1" dirty="0">
                <a:solidFill>
                  <a:schemeClr val="accent6"/>
                </a:solidFill>
              </a:rPr>
              <a:t>of </a:t>
            </a:r>
            <a:r>
              <a:rPr lang="en-US" sz="1400" b="1" i="1" dirty="0" smtClean="0">
                <a:solidFill>
                  <a:schemeClr val="accent6"/>
                </a:solidFill>
              </a:rPr>
              <a:t>Science.</a:t>
            </a:r>
            <a:endParaRPr lang="en-GB" sz="1400" dirty="0">
              <a:solidFill>
                <a:schemeClr val="accent6"/>
              </a:solidFill>
            </a:endParaRPr>
          </a:p>
        </p:txBody>
      </p:sp>
      <p:sp>
        <p:nvSpPr>
          <p:cNvPr id="11" name="Textplatzhalter 2"/>
          <p:cNvSpPr txBox="1">
            <a:spLocks/>
          </p:cNvSpPr>
          <p:nvPr/>
        </p:nvSpPr>
        <p:spPr>
          <a:xfrm>
            <a:off x="302341" y="426280"/>
            <a:ext cx="888549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Subscription</a:t>
            </a:r>
            <a:r>
              <a:rPr lang="de-DE" sz="3600" b="1" dirty="0" smtClean="0">
                <a:solidFill>
                  <a:schemeClr val="accent6"/>
                </a:solidFill>
              </a:rPr>
              <a:t> </a:t>
            </a:r>
            <a:r>
              <a:rPr lang="de-DE" sz="3600" b="1" dirty="0" err="1" smtClean="0">
                <a:solidFill>
                  <a:schemeClr val="accent6"/>
                </a:solidFill>
              </a:rPr>
              <a:t>publishers</a:t>
            </a:r>
            <a:r>
              <a:rPr lang="de-DE" sz="3600" b="1" dirty="0" smtClean="0">
                <a:solidFill>
                  <a:schemeClr val="accent6"/>
                </a:solidFill>
              </a:rPr>
              <a:t> </a:t>
            </a:r>
            <a:r>
              <a:rPr lang="de-DE" sz="3600" b="1" dirty="0" err="1" smtClean="0">
                <a:solidFill>
                  <a:schemeClr val="accent6"/>
                </a:solidFill>
              </a:rPr>
              <a:t>are</a:t>
            </a:r>
            <a:r>
              <a:rPr lang="de-DE" sz="3600" b="1" dirty="0" smtClean="0">
                <a:solidFill>
                  <a:schemeClr val="accent6"/>
                </a:solidFill>
              </a:rPr>
              <a:t> </a:t>
            </a:r>
            <a:r>
              <a:rPr lang="de-DE" sz="3600" b="1" dirty="0" err="1" smtClean="0">
                <a:solidFill>
                  <a:schemeClr val="accent6"/>
                </a:solidFill>
              </a:rPr>
              <a:t>cashing</a:t>
            </a:r>
            <a:r>
              <a:rPr lang="de-DE" sz="3600" b="1" dirty="0" smtClean="0">
                <a:solidFill>
                  <a:schemeClr val="accent6"/>
                </a:solidFill>
              </a:rPr>
              <a:t> in</a:t>
            </a:r>
            <a:endParaRPr lang="de-DE" sz="3600" dirty="0"/>
          </a:p>
        </p:txBody>
      </p:sp>
    </p:spTree>
    <p:extLst>
      <p:ext uri="{BB962C8B-B14F-4D97-AF65-F5344CB8AC3E}">
        <p14:creationId xmlns:p14="http://schemas.microsoft.com/office/powerpoint/2010/main" val="23771568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AD1E780-DE1C-4ECA-B5E5-863D0BC53287}" type="slidenum">
              <a:rPr lang="de-DE" smtClean="0"/>
              <a:pPr/>
              <a:t>27</a:t>
            </a:fld>
            <a:endParaRPr lang="de-DE" dirty="0"/>
          </a:p>
        </p:txBody>
      </p:sp>
      <p:sp>
        <p:nvSpPr>
          <p:cNvPr id="8" name="TextBox 7"/>
          <p:cNvSpPr txBox="1"/>
          <p:nvPr/>
        </p:nvSpPr>
        <p:spPr>
          <a:xfrm>
            <a:off x="302341" y="6236805"/>
            <a:ext cx="7801802" cy="523220"/>
          </a:xfrm>
          <a:prstGeom prst="rect">
            <a:avLst/>
          </a:prstGeom>
          <a:noFill/>
        </p:spPr>
        <p:txBody>
          <a:bodyPr wrap="square" rtlCol="0">
            <a:spAutoFit/>
          </a:bodyPr>
          <a:lstStyle/>
          <a:p>
            <a:r>
              <a:rPr lang="en-US" sz="1400" dirty="0" smtClean="0">
                <a:solidFill>
                  <a:schemeClr val="accent6"/>
                </a:solidFill>
              </a:rPr>
              <a:t>20 largest publishers, based on number of papers published in 2016. OA highlighted in grey.</a:t>
            </a:r>
          </a:p>
          <a:p>
            <a:r>
              <a:rPr lang="en-US" sz="1400" dirty="0" smtClean="0">
                <a:solidFill>
                  <a:schemeClr val="accent6"/>
                </a:solidFill>
              </a:rPr>
              <a:t>MPDL analysis based on data from </a:t>
            </a:r>
            <a:r>
              <a:rPr lang="en-US" sz="1400" b="1" i="1" dirty="0" smtClean="0">
                <a:solidFill>
                  <a:schemeClr val="accent6"/>
                </a:solidFill>
              </a:rPr>
              <a:t>Web </a:t>
            </a:r>
            <a:r>
              <a:rPr lang="en-US" sz="1400" b="1" i="1" dirty="0">
                <a:solidFill>
                  <a:schemeClr val="accent6"/>
                </a:solidFill>
              </a:rPr>
              <a:t>of </a:t>
            </a:r>
            <a:r>
              <a:rPr lang="en-US" sz="1400" b="1" i="1" dirty="0" smtClean="0">
                <a:solidFill>
                  <a:schemeClr val="accent6"/>
                </a:solidFill>
              </a:rPr>
              <a:t>Science.</a:t>
            </a:r>
            <a:endParaRPr lang="en-GB" sz="1400" dirty="0">
              <a:solidFill>
                <a:schemeClr val="accent6"/>
              </a:solidFill>
            </a:endParaRPr>
          </a:p>
        </p:txBody>
      </p:sp>
      <p:sp>
        <p:nvSpPr>
          <p:cNvPr id="11" name="Textplatzhalter 2"/>
          <p:cNvSpPr txBox="1">
            <a:spLocks/>
          </p:cNvSpPr>
          <p:nvPr/>
        </p:nvSpPr>
        <p:spPr>
          <a:xfrm>
            <a:off x="302341" y="426280"/>
            <a:ext cx="888549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b="1" dirty="0">
                <a:solidFill>
                  <a:schemeClr val="accent6"/>
                </a:solidFill>
              </a:rPr>
              <a:t>Top 20 publishers </a:t>
            </a:r>
            <a:r>
              <a:rPr lang="en-US" sz="3600" b="1" dirty="0" smtClean="0">
                <a:solidFill>
                  <a:schemeClr val="accent6"/>
                </a:solidFill>
              </a:rPr>
              <a:t>worldwide </a:t>
            </a:r>
            <a:r>
              <a:rPr lang="en-US" sz="3600" b="1" dirty="0">
                <a:solidFill>
                  <a:schemeClr val="accent6"/>
                </a:solidFill>
              </a:rPr>
              <a:t/>
            </a:r>
            <a:br>
              <a:rPr lang="en-US" sz="3600" b="1" dirty="0">
                <a:solidFill>
                  <a:schemeClr val="accent6"/>
                </a:solidFill>
              </a:rPr>
            </a:br>
            <a:endParaRPr lang="de-DE" sz="3600" dirty="0"/>
          </a:p>
        </p:txBody>
      </p:sp>
      <p:sp>
        <p:nvSpPr>
          <p:cNvPr id="9" name="Rechteck 8"/>
          <p:cNvSpPr/>
          <p:nvPr/>
        </p:nvSpPr>
        <p:spPr>
          <a:xfrm>
            <a:off x="207749" y="976634"/>
            <a:ext cx="8518208" cy="897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noAutofit/>
          </a:bodyPr>
          <a:lstStyle/>
          <a:p>
            <a:pPr>
              <a:lnSpc>
                <a:spcPct val="150000"/>
              </a:lnSpc>
            </a:pPr>
            <a:r>
              <a:rPr lang="en-US" sz="2000" b="1" dirty="0" smtClean="0">
                <a:solidFill>
                  <a:schemeClr val="tx2"/>
                </a:solidFill>
              </a:rPr>
              <a:t>Number of papers published  in 2016</a:t>
            </a:r>
          </a:p>
          <a:p>
            <a:pPr>
              <a:lnSpc>
                <a:spcPct val="150000"/>
              </a:lnSpc>
            </a:pPr>
            <a:r>
              <a:rPr lang="en-US" sz="1600" dirty="0" smtClean="0">
                <a:solidFill>
                  <a:schemeClr val="tx2"/>
                </a:solidFill>
              </a:rPr>
              <a:t>Analysis based on </a:t>
            </a:r>
            <a:r>
              <a:rPr lang="en-US" sz="1600" b="1" i="1" dirty="0">
                <a:solidFill>
                  <a:schemeClr val="accent4"/>
                </a:solidFill>
              </a:rPr>
              <a:t>Web of </a:t>
            </a:r>
            <a:r>
              <a:rPr lang="en-US" sz="1600" b="1" i="1" dirty="0" smtClean="0">
                <a:solidFill>
                  <a:schemeClr val="accent4"/>
                </a:solidFill>
              </a:rPr>
              <a:t>Science</a:t>
            </a:r>
          </a:p>
        </p:txBody>
      </p:sp>
      <p:sp>
        <p:nvSpPr>
          <p:cNvPr id="10" name="Textfeld 9"/>
          <p:cNvSpPr txBox="1"/>
          <p:nvPr/>
        </p:nvSpPr>
        <p:spPr>
          <a:xfrm>
            <a:off x="8292888" y="1268237"/>
            <a:ext cx="1385502" cy="523220"/>
          </a:xfrm>
          <a:prstGeom prst="rect">
            <a:avLst/>
          </a:prstGeom>
          <a:noFill/>
          <a:ln>
            <a:noFill/>
          </a:ln>
        </p:spPr>
        <p:txBody>
          <a:bodyPr wrap="square" rtlCol="0">
            <a:spAutoFit/>
          </a:bodyPr>
          <a:lstStyle/>
          <a:p>
            <a:r>
              <a:rPr lang="en-US" sz="1400" dirty="0" smtClean="0">
                <a:solidFill>
                  <a:schemeClr val="tx2"/>
                </a:solidFill>
              </a:rPr>
              <a:t>OA dominated publisher</a:t>
            </a:r>
            <a:endParaRPr lang="de-DE" sz="1400" dirty="0" smtClean="0">
              <a:solidFill>
                <a:schemeClr val="tx2"/>
              </a:solidFill>
            </a:endParaRPr>
          </a:p>
        </p:txBody>
      </p:sp>
      <p:sp>
        <p:nvSpPr>
          <p:cNvPr id="12" name="Rechteck 11"/>
          <p:cNvSpPr/>
          <p:nvPr/>
        </p:nvSpPr>
        <p:spPr>
          <a:xfrm>
            <a:off x="8029416" y="1349099"/>
            <a:ext cx="263472" cy="1521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aphicFrame>
        <p:nvGraphicFramePr>
          <p:cNvPr id="13" name="Tabelle 12"/>
          <p:cNvGraphicFramePr>
            <a:graphicFrameLocks noGrp="1"/>
          </p:cNvGraphicFramePr>
          <p:nvPr>
            <p:extLst>
              <p:ext uri="{D42A27DB-BD31-4B8C-83A1-F6EECF244321}">
                <p14:modId xmlns:p14="http://schemas.microsoft.com/office/powerpoint/2010/main" val="2442212041"/>
              </p:ext>
            </p:extLst>
          </p:nvPr>
        </p:nvGraphicFramePr>
        <p:xfrm>
          <a:off x="282738" y="1976097"/>
          <a:ext cx="7408598" cy="4221801"/>
        </p:xfrm>
        <a:graphic>
          <a:graphicData uri="http://schemas.openxmlformats.org/drawingml/2006/table">
            <a:tbl>
              <a:tblPr>
                <a:tableStyleId>{5C22544A-7EE6-4342-B048-85BDC9FD1C3A}</a:tableStyleId>
              </a:tblPr>
              <a:tblGrid>
                <a:gridCol w="517947"/>
                <a:gridCol w="904898"/>
                <a:gridCol w="1303506"/>
                <a:gridCol w="1277566"/>
                <a:gridCol w="1232171"/>
                <a:gridCol w="1070042"/>
                <a:gridCol w="1102468"/>
              </a:tblGrid>
              <a:tr h="214721">
                <a:tc>
                  <a:txBody>
                    <a:bodyPr/>
                    <a:lstStyle/>
                    <a:p>
                      <a:pPr marL="0" algn="l" defTabSz="914400" rtl="0" eaLnBrk="1" fontAlgn="b" latinLnBrk="0" hangingPunct="1"/>
                      <a:r>
                        <a:rPr lang="de-DE" sz="800" b="1" u="none" strike="noStrike" kern="1200" dirty="0">
                          <a:solidFill>
                            <a:schemeClr val="dk1"/>
                          </a:solidFill>
                          <a:effectLst/>
                          <a:latin typeface="+mn-lt"/>
                          <a:ea typeface="+mn-ea"/>
                          <a:cs typeface="+mn-cs"/>
                        </a:rPr>
                        <a:t>Rank</a:t>
                      </a:r>
                    </a:p>
                  </a:txBody>
                  <a:tcPr marL="72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US" sz="800" b="1" u="none" strike="noStrike" kern="1200" noProof="0" dirty="0" smtClean="0">
                          <a:solidFill>
                            <a:schemeClr val="dk1"/>
                          </a:solidFill>
                          <a:effectLst/>
                          <a:latin typeface="+mn-lt"/>
                          <a:ea typeface="+mn-ea"/>
                          <a:cs typeface="+mn-cs"/>
                        </a:rPr>
                        <a:t>Publisher</a:t>
                      </a:r>
                      <a:endParaRPr lang="en-US" sz="800" b="1" u="none" strike="noStrike" kern="1200" noProof="0" dirty="0">
                        <a:solidFill>
                          <a:schemeClr val="dk1"/>
                        </a:solidFill>
                        <a:effectLst/>
                        <a:latin typeface="+mn-lt"/>
                        <a:ea typeface="+mn-ea"/>
                        <a:cs typeface="+mn-cs"/>
                      </a:endParaRPr>
                    </a:p>
                  </a:txBody>
                  <a:tcPr marL="72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b="1" u="none" strike="noStrike" noProof="0" dirty="0" smtClean="0">
                          <a:effectLst/>
                        </a:rPr>
                        <a:t>Number of articles 2016</a:t>
                      </a:r>
                      <a:endParaRPr lang="en-US" sz="800" b="1" i="0" u="none" strike="noStrike" noProof="0" dirty="0">
                        <a:solidFill>
                          <a:srgbClr val="000000"/>
                        </a:solidFill>
                        <a:effectLst/>
                        <a:latin typeface="Calibri"/>
                      </a:endParaRPr>
                    </a:p>
                  </a:txBody>
                  <a:tcPr marL="72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b="1" u="none" strike="noStrike" noProof="0" dirty="0" smtClean="0">
                          <a:effectLst/>
                        </a:rPr>
                        <a:t>Share of publisher 2016</a:t>
                      </a:r>
                      <a:endParaRPr lang="en-US" sz="800" b="1" i="0" u="none" strike="noStrike" noProof="0" dirty="0">
                        <a:solidFill>
                          <a:srgbClr val="000000"/>
                        </a:solidFill>
                        <a:effectLst/>
                        <a:latin typeface="Calibri"/>
                      </a:endParaRPr>
                    </a:p>
                  </a:txBody>
                  <a:tcPr marL="72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b="1" u="none" strike="noStrike" noProof="0" dirty="0" smtClean="0">
                          <a:effectLst/>
                        </a:rPr>
                        <a:t>Cumulative share 2016</a:t>
                      </a:r>
                      <a:endParaRPr lang="en-US" sz="800" b="1" i="0" u="none" strike="noStrike" noProof="0" dirty="0">
                        <a:solidFill>
                          <a:srgbClr val="000000"/>
                        </a:solidFill>
                        <a:effectLst/>
                        <a:latin typeface="Calibri"/>
                      </a:endParaRPr>
                    </a:p>
                  </a:txBody>
                  <a:tcPr marL="72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b="1" u="none" strike="noStrike" noProof="0" dirty="0" smtClean="0">
                          <a:effectLst/>
                        </a:rPr>
                        <a:t>Year 2016 OA Gold</a:t>
                      </a:r>
                      <a:endParaRPr lang="en-US" sz="800" b="1" i="0" u="none" strike="noStrike" noProof="0" dirty="0">
                        <a:solidFill>
                          <a:srgbClr val="000000"/>
                        </a:solidFill>
                        <a:effectLst/>
                        <a:latin typeface="Calibri"/>
                      </a:endParaRPr>
                    </a:p>
                  </a:txBody>
                  <a:tcPr marL="72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b="1" u="none" strike="noStrike" noProof="0" dirty="0" smtClean="0">
                          <a:effectLst/>
                        </a:rPr>
                        <a:t>Share OA Gold 2016</a:t>
                      </a:r>
                      <a:endParaRPr lang="en-US" sz="800" b="1" i="0" u="none" strike="noStrike" noProof="0" dirty="0">
                        <a:solidFill>
                          <a:srgbClr val="000000"/>
                        </a:solidFill>
                        <a:effectLst/>
                        <a:latin typeface="Calibri"/>
                      </a:endParaRPr>
                    </a:p>
                  </a:txBody>
                  <a:tcPr marL="72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1</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Elsevier</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39148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7%</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7%</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3407</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3,42%</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2</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Springer</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85696</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8%</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25%</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197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6,45%</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3</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Wiley</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42928</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6%</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3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527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3,69%</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4</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err="1" smtClean="0">
                          <a:effectLst/>
                        </a:rPr>
                        <a:t>Taylor&amp;Francis</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83087</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4%</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34%</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235</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49%</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5</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ACS</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41929</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2%</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36%</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02</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0,24%</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6</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RSC</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41796</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2%</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38%</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843</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2,02%</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7</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IEEE</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38164</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2%</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39%</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059</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2,77%</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8</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NPG</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36615</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2%</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4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25577</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69,85%</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82140">
                <a:tc>
                  <a:txBody>
                    <a:bodyPr/>
                    <a:lstStyle/>
                    <a:p>
                      <a:pPr algn="l" fontAlgn="b"/>
                      <a:r>
                        <a:rPr lang="de-DE" sz="800" u="none" strike="noStrike" dirty="0">
                          <a:effectLst/>
                        </a:rPr>
                        <a:t>9</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OUP</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34278</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42%</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2914</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8,5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10</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LWW</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26909</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43%</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0,0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11</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PLOS</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25248</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45%</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25248</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100,0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82140">
                <a:tc>
                  <a:txBody>
                    <a:bodyPr/>
                    <a:lstStyle/>
                    <a:p>
                      <a:pPr algn="l" fontAlgn="b"/>
                      <a:r>
                        <a:rPr lang="de-DE" sz="800" u="none" strike="noStrike" dirty="0">
                          <a:effectLst/>
                        </a:rPr>
                        <a:t>12</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BMC</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25098</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46%</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24944</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99,39%</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82140">
                <a:tc>
                  <a:txBody>
                    <a:bodyPr/>
                    <a:lstStyle/>
                    <a:p>
                      <a:pPr algn="l" fontAlgn="b"/>
                      <a:r>
                        <a:rPr lang="de-DE" sz="800" u="none" strike="noStrike" dirty="0">
                          <a:effectLst/>
                        </a:rPr>
                        <a:t>13</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Sage</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24423</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47%</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252</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03%</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14</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AIP</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2092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48%</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504</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7,19%</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15</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IOP</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20834</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48%</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139</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5,47%</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16</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APS</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8086</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49%</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419</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2,32%</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17</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MDPI</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15683</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5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15683</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100,0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82140">
                <a:tc>
                  <a:txBody>
                    <a:bodyPr/>
                    <a:lstStyle/>
                    <a:p>
                      <a:pPr algn="l" fontAlgn="b"/>
                      <a:r>
                        <a:rPr lang="de-DE" sz="800" u="none" strike="noStrike" dirty="0">
                          <a:effectLst/>
                        </a:rPr>
                        <a:t>18</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CUP</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4467</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5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57</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09%</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r>
                        <a:rPr lang="de-DE" sz="800" u="none" strike="noStrike" dirty="0">
                          <a:effectLst/>
                        </a:rPr>
                        <a:t>19</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err="1" smtClean="0">
                          <a:effectLst/>
                        </a:rPr>
                        <a:t>Hindawi</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1235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5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11158</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90,35%</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82140">
                <a:tc>
                  <a:txBody>
                    <a:bodyPr/>
                    <a:lstStyle/>
                    <a:p>
                      <a:pPr algn="l" fontAlgn="b"/>
                      <a:r>
                        <a:rPr lang="de-DE" sz="800" u="none" strike="noStrike" dirty="0">
                          <a:effectLst/>
                        </a:rPr>
                        <a:t>20</a:t>
                      </a:r>
                      <a:endParaRPr lang="de-DE" sz="800" b="0" i="0" u="none" strike="noStrike" dirty="0">
                        <a:solidFill>
                          <a:srgbClr val="000000"/>
                        </a:solidFill>
                        <a:effectLst/>
                        <a:latin typeface="Calibri"/>
                      </a:endParaRPr>
                    </a:p>
                  </a:txBody>
                  <a:tcPr marL="144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Frontiers</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11115</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5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11115</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800" u="none" strike="noStrike" noProof="0" dirty="0" smtClean="0">
                          <a:effectLst/>
                        </a:rPr>
                        <a:t>100,0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82140">
                <a:tc>
                  <a:txBody>
                    <a:bodyPr/>
                    <a:lstStyle/>
                    <a:p>
                      <a:pPr algn="l" fontAlgn="b"/>
                      <a:endParaRPr lang="de-DE" sz="800" b="0" i="0" u="none" strike="noStrike" dirty="0">
                        <a:solidFill>
                          <a:srgbClr val="000000"/>
                        </a:solidFill>
                        <a:effectLst/>
                        <a:latin typeface="Calibri"/>
                      </a:endParaRPr>
                    </a:p>
                  </a:txBody>
                  <a:tcPr marL="72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800" u="none" strike="noStrike" noProof="0" dirty="0" smtClean="0">
                          <a:effectLst/>
                        </a:rPr>
                        <a:t>Other </a:t>
                      </a:r>
                      <a:endParaRPr lang="en-US" sz="800" b="0" i="0" u="none" strike="noStrike" noProof="0"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141171</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49%</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0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800" u="none" strike="noStrike" noProof="0" dirty="0" smtClean="0">
                          <a:effectLst/>
                        </a:rPr>
                        <a:t>137710</a:t>
                      </a:r>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endParaRPr lang="en-US" sz="800" b="0" i="0" u="none" strike="noStrike" noProof="0"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2140">
                <a:tc>
                  <a:txBody>
                    <a:bodyPr/>
                    <a:lstStyle/>
                    <a:p>
                      <a:pPr algn="l" fontAlgn="b"/>
                      <a:endParaRPr lang="de-DE" sz="800" b="0" i="0" u="none" strike="noStrike" dirty="0">
                        <a:solidFill>
                          <a:srgbClr val="000000"/>
                        </a:solidFill>
                        <a:effectLst/>
                        <a:latin typeface="Calibri"/>
                      </a:endParaRPr>
                    </a:p>
                  </a:txBody>
                  <a:tcPr marL="72000" marR="2778" marT="277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de-DE" sz="800" u="none" strike="noStrike" dirty="0">
                          <a:effectLst/>
                        </a:rPr>
                        <a:t>Total</a:t>
                      </a:r>
                      <a:endParaRPr lang="de-DE" sz="800" b="0" i="0" u="none" strike="noStrike" dirty="0">
                        <a:solidFill>
                          <a:srgbClr val="000000"/>
                        </a:solidFill>
                        <a:effectLst/>
                        <a:latin typeface="Calibri"/>
                      </a:endParaRPr>
                    </a:p>
                  </a:txBody>
                  <a:tcPr marL="108000" marR="2778"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de-DE" sz="800" u="none" strike="noStrike" dirty="0">
                          <a:effectLst/>
                        </a:rPr>
                        <a:t>2352277</a:t>
                      </a:r>
                      <a:endParaRPr lang="de-DE" sz="800" b="0" i="0" u="none" strike="noStrike"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endParaRPr lang="de-DE" sz="800" b="0" i="0" u="none" strike="noStrike">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endParaRPr lang="de-DE" sz="800" b="0" i="0" u="none" strike="noStrike">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de-DE" sz="800" u="none" strike="noStrike" dirty="0">
                          <a:effectLst/>
                        </a:rPr>
                        <a:t>291708</a:t>
                      </a:r>
                      <a:endParaRPr lang="de-DE" sz="800" b="0" i="0" u="none" strike="noStrike"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endParaRPr lang="de-DE" sz="800" b="0" i="0" u="none" strike="noStrike" dirty="0">
                        <a:solidFill>
                          <a:srgbClr val="000000"/>
                        </a:solidFill>
                        <a:effectLst/>
                        <a:latin typeface="Calibri"/>
                      </a:endParaRPr>
                    </a:p>
                  </a:txBody>
                  <a:tcPr marL="72000" marR="288000" marT="2778" marB="36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04909333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2"/>
          <p:cNvSpPr txBox="1">
            <a:spLocks/>
          </p:cNvSpPr>
          <p:nvPr/>
        </p:nvSpPr>
        <p:spPr>
          <a:xfrm>
            <a:off x="419032" y="1692735"/>
            <a:ext cx="8652116"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3200" dirty="0" smtClean="0">
                <a:solidFill>
                  <a:schemeClr val="accent2"/>
                </a:solidFill>
                <a:latin typeface="Arial" panose="020B0604020202020204" pitchFamily="34" charset="0"/>
                <a:cs typeface="Arial" panose="020B0604020202020204" pitchFamily="34" charset="0"/>
              </a:rPr>
              <a:t>OA publishing constitutes an </a:t>
            </a:r>
            <a:r>
              <a:rPr lang="en-US" sz="3200" b="1" dirty="0" smtClean="0">
                <a:solidFill>
                  <a:schemeClr val="accent2"/>
                </a:solidFill>
                <a:latin typeface="Arial" panose="020B0604020202020204" pitchFamily="34" charset="0"/>
                <a:cs typeface="Arial" panose="020B0604020202020204" pitchFamily="34" charset="0"/>
              </a:rPr>
              <a:t>unmonitored and unchecked parallel revenue stream </a:t>
            </a:r>
            <a:r>
              <a:rPr lang="en-US" sz="3200" dirty="0" smtClean="0">
                <a:solidFill>
                  <a:schemeClr val="accent2"/>
                </a:solidFill>
                <a:latin typeface="Arial" panose="020B0604020202020204" pitchFamily="34" charset="0"/>
                <a:cs typeface="Arial" panose="020B0604020202020204" pitchFamily="34" charset="0"/>
              </a:rPr>
              <a:t>for subscription publishers</a:t>
            </a:r>
            <a:endParaRPr lang="de-DE" sz="4800" dirty="0">
              <a:solidFill>
                <a:schemeClr val="accent2"/>
              </a:solidFill>
              <a:latin typeface="Arial" panose="020B0604020202020204" pitchFamily="34" charset="0"/>
              <a:cs typeface="Arial" panose="020B0604020202020204" pitchFamily="34" charset="0"/>
            </a:endParaRPr>
          </a:p>
        </p:txBody>
      </p:sp>
      <p:sp>
        <p:nvSpPr>
          <p:cNvPr id="3" name="Foliennummernplatzhalter 2"/>
          <p:cNvSpPr>
            <a:spLocks noGrp="1"/>
          </p:cNvSpPr>
          <p:nvPr>
            <p:ph type="sldNum" sz="quarter" idx="12"/>
          </p:nvPr>
        </p:nvSpPr>
        <p:spPr/>
        <p:txBody>
          <a:bodyPr/>
          <a:lstStyle/>
          <a:p>
            <a:fld id="{4AD1E780-DE1C-4ECA-B5E5-863D0BC53287}" type="slidenum">
              <a:rPr lang="de-DE" smtClean="0"/>
              <a:pPr/>
              <a:t>28</a:t>
            </a:fld>
            <a:endParaRPr lang="de-DE" dirty="0"/>
          </a:p>
        </p:txBody>
      </p:sp>
      <p:sp>
        <p:nvSpPr>
          <p:cNvPr id="4" name="Textplatzhalter 2"/>
          <p:cNvSpPr txBox="1">
            <a:spLocks/>
          </p:cNvSpPr>
          <p:nvPr/>
        </p:nvSpPr>
        <p:spPr>
          <a:xfrm>
            <a:off x="302341" y="426280"/>
            <a:ext cx="888549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Financial </a:t>
            </a:r>
            <a:r>
              <a:rPr lang="de-DE" sz="3600" b="1" dirty="0" err="1" smtClean="0">
                <a:solidFill>
                  <a:schemeClr val="accent6"/>
                </a:solidFill>
              </a:rPr>
              <a:t>impact</a:t>
            </a:r>
            <a:r>
              <a:rPr lang="de-DE" sz="3600" b="1" dirty="0" smtClean="0">
                <a:solidFill>
                  <a:schemeClr val="accent6"/>
                </a:solidFill>
              </a:rPr>
              <a:t> </a:t>
            </a:r>
            <a:r>
              <a:rPr lang="de-DE" sz="3600" b="1" dirty="0" err="1" smtClean="0">
                <a:solidFill>
                  <a:schemeClr val="accent6"/>
                </a:solidFill>
              </a:rPr>
              <a:t>of</a:t>
            </a:r>
            <a:r>
              <a:rPr lang="de-DE" sz="3600" b="1" dirty="0" smtClean="0">
                <a:solidFill>
                  <a:schemeClr val="accent6"/>
                </a:solidFill>
              </a:rPr>
              <a:t> OA </a:t>
            </a:r>
            <a:r>
              <a:rPr lang="de-DE" sz="3600" b="1" dirty="0" err="1" smtClean="0">
                <a:solidFill>
                  <a:schemeClr val="accent6"/>
                </a:solidFill>
              </a:rPr>
              <a:t>publishing</a:t>
            </a:r>
            <a:endParaRPr lang="de-DE" sz="3600" dirty="0"/>
          </a:p>
        </p:txBody>
      </p:sp>
      <p:grpSp>
        <p:nvGrpSpPr>
          <p:cNvPr id="2" name="Gruppieren 1"/>
          <p:cNvGrpSpPr/>
          <p:nvPr/>
        </p:nvGrpSpPr>
        <p:grpSpPr>
          <a:xfrm>
            <a:off x="-1688136" y="3610124"/>
            <a:ext cx="7882147" cy="6893923"/>
            <a:chOff x="405525" y="3610124"/>
            <a:chExt cx="7882147" cy="6893923"/>
          </a:xfrm>
        </p:grpSpPr>
        <p:grpSp>
          <p:nvGrpSpPr>
            <p:cNvPr id="6" name="Gruppieren 5"/>
            <p:cNvGrpSpPr/>
            <p:nvPr/>
          </p:nvGrpSpPr>
          <p:grpSpPr>
            <a:xfrm>
              <a:off x="405525" y="3610124"/>
              <a:ext cx="7882147" cy="6893923"/>
              <a:chOff x="479271" y="2409612"/>
              <a:chExt cx="3512581" cy="3528903"/>
            </a:xfrm>
          </p:grpSpPr>
          <p:sp>
            <p:nvSpPr>
              <p:cNvPr id="7" name="Freihandform 6"/>
              <p:cNvSpPr/>
              <p:nvPr/>
            </p:nvSpPr>
            <p:spPr>
              <a:xfrm>
                <a:off x="1822495" y="2409612"/>
                <a:ext cx="2080448" cy="1107046"/>
              </a:xfrm>
              <a:custGeom>
                <a:avLst/>
                <a:gdLst>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1627002 w 2157626"/>
                  <a:gd name="connsiteY8" fmla="*/ 12612 h 1116198"/>
                  <a:gd name="connsiteX9" fmla="*/ 1702676 w 2157626"/>
                  <a:gd name="connsiteY9" fmla="*/ 25225 h 1116198"/>
                  <a:gd name="connsiteX10" fmla="*/ 1854025 w 2157626"/>
                  <a:gd name="connsiteY10" fmla="*/ 31531 h 1116198"/>
                  <a:gd name="connsiteX11" fmla="*/ 1942312 w 2157626"/>
                  <a:gd name="connsiteY11" fmla="*/ 50449 h 1116198"/>
                  <a:gd name="connsiteX12" fmla="*/ 2017987 w 2157626"/>
                  <a:gd name="connsiteY12" fmla="*/ 63062 h 1116198"/>
                  <a:gd name="connsiteX13" fmla="*/ 2118886 w 2157626"/>
                  <a:gd name="connsiteY13" fmla="*/ 69368 h 1116198"/>
                  <a:gd name="connsiteX14" fmla="*/ 2150417 w 2157626"/>
                  <a:gd name="connsiteY14" fmla="*/ 94593 h 1116198"/>
                  <a:gd name="connsiteX15" fmla="*/ 2156723 w 2157626"/>
                  <a:gd name="connsiteY15" fmla="*/ 113511 h 1116198"/>
                  <a:gd name="connsiteX16" fmla="*/ 2131498 w 2157626"/>
                  <a:gd name="connsiteY16" fmla="*/ 132430 h 1116198"/>
                  <a:gd name="connsiteX17" fmla="*/ 2062130 w 2157626"/>
                  <a:gd name="connsiteY17" fmla="*/ 201798 h 1116198"/>
                  <a:gd name="connsiteX18" fmla="*/ 1917087 w 2157626"/>
                  <a:gd name="connsiteY18" fmla="*/ 447740 h 1116198"/>
                  <a:gd name="connsiteX19" fmla="*/ 1885556 w 2157626"/>
                  <a:gd name="connsiteY19" fmla="*/ 523415 h 1116198"/>
                  <a:gd name="connsiteX20" fmla="*/ 1784657 w 2157626"/>
                  <a:gd name="connsiteY20" fmla="*/ 807194 h 1116198"/>
                  <a:gd name="connsiteX21" fmla="*/ 1778351 w 2157626"/>
                  <a:gd name="connsiteY21" fmla="*/ 838725 h 1116198"/>
                  <a:gd name="connsiteX22" fmla="*/ 1620696 w 2157626"/>
                  <a:gd name="connsiteY22" fmla="*/ 1090974 h 1116198"/>
                  <a:gd name="connsiteX23" fmla="*/ 1576552 w 2157626"/>
                  <a:gd name="connsiteY23" fmla="*/ 1116198 h 1116198"/>
                  <a:gd name="connsiteX24" fmla="*/ 1469347 w 2157626"/>
                  <a:gd name="connsiteY24" fmla="*/ 1002687 h 1116198"/>
                  <a:gd name="connsiteX25" fmla="*/ 794582 w 2157626"/>
                  <a:gd name="connsiteY25" fmla="*/ 441434 h 1116198"/>
                  <a:gd name="connsiteX26" fmla="*/ 252249 w 2157626"/>
                  <a:gd name="connsiteY26" fmla="*/ 126124 h 1116198"/>
                  <a:gd name="connsiteX27" fmla="*/ 214411 w 2157626"/>
                  <a:gd name="connsiteY27" fmla="*/ 107205 h 1116198"/>
                  <a:gd name="connsiteX28" fmla="*/ 163962 w 2157626"/>
                  <a:gd name="connsiteY28" fmla="*/ 69368 h 1116198"/>
                  <a:gd name="connsiteX29" fmla="*/ 75675 w 2157626"/>
                  <a:gd name="connsiteY29" fmla="*/ 37837 h 1116198"/>
                  <a:gd name="connsiteX30" fmla="*/ 56756 w 2157626"/>
                  <a:gd name="connsiteY30" fmla="*/ 50449 h 1116198"/>
                  <a:gd name="connsiteX31" fmla="*/ 63062 w 2157626"/>
                  <a:gd name="connsiteY31"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1702676 w 2157626"/>
                  <a:gd name="connsiteY8" fmla="*/ 25225 h 1116198"/>
                  <a:gd name="connsiteX9" fmla="*/ 1854025 w 2157626"/>
                  <a:gd name="connsiteY9" fmla="*/ 31531 h 1116198"/>
                  <a:gd name="connsiteX10" fmla="*/ 1942312 w 2157626"/>
                  <a:gd name="connsiteY10" fmla="*/ 50449 h 1116198"/>
                  <a:gd name="connsiteX11" fmla="*/ 2017987 w 2157626"/>
                  <a:gd name="connsiteY11" fmla="*/ 63062 h 1116198"/>
                  <a:gd name="connsiteX12" fmla="*/ 2118886 w 2157626"/>
                  <a:gd name="connsiteY12" fmla="*/ 69368 h 1116198"/>
                  <a:gd name="connsiteX13" fmla="*/ 2150417 w 2157626"/>
                  <a:gd name="connsiteY13" fmla="*/ 94593 h 1116198"/>
                  <a:gd name="connsiteX14" fmla="*/ 2156723 w 2157626"/>
                  <a:gd name="connsiteY14" fmla="*/ 113511 h 1116198"/>
                  <a:gd name="connsiteX15" fmla="*/ 2131498 w 2157626"/>
                  <a:gd name="connsiteY15" fmla="*/ 132430 h 1116198"/>
                  <a:gd name="connsiteX16" fmla="*/ 2062130 w 2157626"/>
                  <a:gd name="connsiteY16" fmla="*/ 201798 h 1116198"/>
                  <a:gd name="connsiteX17" fmla="*/ 1917087 w 2157626"/>
                  <a:gd name="connsiteY17" fmla="*/ 447740 h 1116198"/>
                  <a:gd name="connsiteX18" fmla="*/ 1885556 w 2157626"/>
                  <a:gd name="connsiteY18" fmla="*/ 523415 h 1116198"/>
                  <a:gd name="connsiteX19" fmla="*/ 1784657 w 2157626"/>
                  <a:gd name="connsiteY19" fmla="*/ 807194 h 1116198"/>
                  <a:gd name="connsiteX20" fmla="*/ 1778351 w 2157626"/>
                  <a:gd name="connsiteY20" fmla="*/ 838725 h 1116198"/>
                  <a:gd name="connsiteX21" fmla="*/ 1620696 w 2157626"/>
                  <a:gd name="connsiteY21" fmla="*/ 1090974 h 1116198"/>
                  <a:gd name="connsiteX22" fmla="*/ 1576552 w 2157626"/>
                  <a:gd name="connsiteY22" fmla="*/ 1116198 h 1116198"/>
                  <a:gd name="connsiteX23" fmla="*/ 1469347 w 2157626"/>
                  <a:gd name="connsiteY23" fmla="*/ 1002687 h 1116198"/>
                  <a:gd name="connsiteX24" fmla="*/ 794582 w 2157626"/>
                  <a:gd name="connsiteY24" fmla="*/ 441434 h 1116198"/>
                  <a:gd name="connsiteX25" fmla="*/ 252249 w 2157626"/>
                  <a:gd name="connsiteY25" fmla="*/ 126124 h 1116198"/>
                  <a:gd name="connsiteX26" fmla="*/ 214411 w 2157626"/>
                  <a:gd name="connsiteY26" fmla="*/ 107205 h 1116198"/>
                  <a:gd name="connsiteX27" fmla="*/ 163962 w 2157626"/>
                  <a:gd name="connsiteY27" fmla="*/ 69368 h 1116198"/>
                  <a:gd name="connsiteX28" fmla="*/ 75675 w 2157626"/>
                  <a:gd name="connsiteY28" fmla="*/ 37837 h 1116198"/>
                  <a:gd name="connsiteX29" fmla="*/ 56756 w 2157626"/>
                  <a:gd name="connsiteY29" fmla="*/ 50449 h 1116198"/>
                  <a:gd name="connsiteX30" fmla="*/ 63062 w 2157626"/>
                  <a:gd name="connsiteY30"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1854025 w 2157626"/>
                  <a:gd name="connsiteY8" fmla="*/ 31531 h 1116198"/>
                  <a:gd name="connsiteX9" fmla="*/ 1942312 w 2157626"/>
                  <a:gd name="connsiteY9" fmla="*/ 50449 h 1116198"/>
                  <a:gd name="connsiteX10" fmla="*/ 2017987 w 2157626"/>
                  <a:gd name="connsiteY10" fmla="*/ 63062 h 1116198"/>
                  <a:gd name="connsiteX11" fmla="*/ 2118886 w 2157626"/>
                  <a:gd name="connsiteY11" fmla="*/ 69368 h 1116198"/>
                  <a:gd name="connsiteX12" fmla="*/ 2150417 w 2157626"/>
                  <a:gd name="connsiteY12" fmla="*/ 94593 h 1116198"/>
                  <a:gd name="connsiteX13" fmla="*/ 2156723 w 2157626"/>
                  <a:gd name="connsiteY13" fmla="*/ 113511 h 1116198"/>
                  <a:gd name="connsiteX14" fmla="*/ 2131498 w 2157626"/>
                  <a:gd name="connsiteY14" fmla="*/ 132430 h 1116198"/>
                  <a:gd name="connsiteX15" fmla="*/ 2062130 w 2157626"/>
                  <a:gd name="connsiteY15" fmla="*/ 201798 h 1116198"/>
                  <a:gd name="connsiteX16" fmla="*/ 1917087 w 2157626"/>
                  <a:gd name="connsiteY16" fmla="*/ 447740 h 1116198"/>
                  <a:gd name="connsiteX17" fmla="*/ 1885556 w 2157626"/>
                  <a:gd name="connsiteY17" fmla="*/ 523415 h 1116198"/>
                  <a:gd name="connsiteX18" fmla="*/ 1784657 w 2157626"/>
                  <a:gd name="connsiteY18" fmla="*/ 807194 h 1116198"/>
                  <a:gd name="connsiteX19" fmla="*/ 1778351 w 2157626"/>
                  <a:gd name="connsiteY19" fmla="*/ 838725 h 1116198"/>
                  <a:gd name="connsiteX20" fmla="*/ 1620696 w 2157626"/>
                  <a:gd name="connsiteY20" fmla="*/ 1090974 h 1116198"/>
                  <a:gd name="connsiteX21" fmla="*/ 1576552 w 2157626"/>
                  <a:gd name="connsiteY21" fmla="*/ 1116198 h 1116198"/>
                  <a:gd name="connsiteX22" fmla="*/ 1469347 w 2157626"/>
                  <a:gd name="connsiteY22" fmla="*/ 1002687 h 1116198"/>
                  <a:gd name="connsiteX23" fmla="*/ 794582 w 2157626"/>
                  <a:gd name="connsiteY23" fmla="*/ 441434 h 1116198"/>
                  <a:gd name="connsiteX24" fmla="*/ 252249 w 2157626"/>
                  <a:gd name="connsiteY24" fmla="*/ 126124 h 1116198"/>
                  <a:gd name="connsiteX25" fmla="*/ 214411 w 2157626"/>
                  <a:gd name="connsiteY25" fmla="*/ 107205 h 1116198"/>
                  <a:gd name="connsiteX26" fmla="*/ 163962 w 2157626"/>
                  <a:gd name="connsiteY26" fmla="*/ 69368 h 1116198"/>
                  <a:gd name="connsiteX27" fmla="*/ 75675 w 2157626"/>
                  <a:gd name="connsiteY27" fmla="*/ 37837 h 1116198"/>
                  <a:gd name="connsiteX28" fmla="*/ 56756 w 2157626"/>
                  <a:gd name="connsiteY28" fmla="*/ 50449 h 1116198"/>
                  <a:gd name="connsiteX29" fmla="*/ 63062 w 2157626"/>
                  <a:gd name="connsiteY29"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1942312 w 2157626"/>
                  <a:gd name="connsiteY8" fmla="*/ 50449 h 1116198"/>
                  <a:gd name="connsiteX9" fmla="*/ 2017987 w 2157626"/>
                  <a:gd name="connsiteY9" fmla="*/ 63062 h 1116198"/>
                  <a:gd name="connsiteX10" fmla="*/ 2118886 w 2157626"/>
                  <a:gd name="connsiteY10" fmla="*/ 69368 h 1116198"/>
                  <a:gd name="connsiteX11" fmla="*/ 2150417 w 2157626"/>
                  <a:gd name="connsiteY11" fmla="*/ 94593 h 1116198"/>
                  <a:gd name="connsiteX12" fmla="*/ 2156723 w 2157626"/>
                  <a:gd name="connsiteY12" fmla="*/ 113511 h 1116198"/>
                  <a:gd name="connsiteX13" fmla="*/ 2131498 w 2157626"/>
                  <a:gd name="connsiteY13" fmla="*/ 132430 h 1116198"/>
                  <a:gd name="connsiteX14" fmla="*/ 2062130 w 2157626"/>
                  <a:gd name="connsiteY14" fmla="*/ 201798 h 1116198"/>
                  <a:gd name="connsiteX15" fmla="*/ 1917087 w 2157626"/>
                  <a:gd name="connsiteY15" fmla="*/ 447740 h 1116198"/>
                  <a:gd name="connsiteX16" fmla="*/ 1885556 w 2157626"/>
                  <a:gd name="connsiteY16" fmla="*/ 523415 h 1116198"/>
                  <a:gd name="connsiteX17" fmla="*/ 1784657 w 2157626"/>
                  <a:gd name="connsiteY17" fmla="*/ 807194 h 1116198"/>
                  <a:gd name="connsiteX18" fmla="*/ 1778351 w 2157626"/>
                  <a:gd name="connsiteY18" fmla="*/ 838725 h 1116198"/>
                  <a:gd name="connsiteX19" fmla="*/ 1620696 w 2157626"/>
                  <a:gd name="connsiteY19" fmla="*/ 1090974 h 1116198"/>
                  <a:gd name="connsiteX20" fmla="*/ 1576552 w 2157626"/>
                  <a:gd name="connsiteY20" fmla="*/ 1116198 h 1116198"/>
                  <a:gd name="connsiteX21" fmla="*/ 1469347 w 2157626"/>
                  <a:gd name="connsiteY21" fmla="*/ 1002687 h 1116198"/>
                  <a:gd name="connsiteX22" fmla="*/ 794582 w 2157626"/>
                  <a:gd name="connsiteY22" fmla="*/ 441434 h 1116198"/>
                  <a:gd name="connsiteX23" fmla="*/ 252249 w 2157626"/>
                  <a:gd name="connsiteY23" fmla="*/ 126124 h 1116198"/>
                  <a:gd name="connsiteX24" fmla="*/ 214411 w 2157626"/>
                  <a:gd name="connsiteY24" fmla="*/ 107205 h 1116198"/>
                  <a:gd name="connsiteX25" fmla="*/ 163962 w 2157626"/>
                  <a:gd name="connsiteY25" fmla="*/ 69368 h 1116198"/>
                  <a:gd name="connsiteX26" fmla="*/ 75675 w 2157626"/>
                  <a:gd name="connsiteY26" fmla="*/ 37837 h 1116198"/>
                  <a:gd name="connsiteX27" fmla="*/ 56756 w 2157626"/>
                  <a:gd name="connsiteY27" fmla="*/ 50449 h 1116198"/>
                  <a:gd name="connsiteX28" fmla="*/ 63062 w 2157626"/>
                  <a:gd name="connsiteY28"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2017987 w 2157626"/>
                  <a:gd name="connsiteY8" fmla="*/ 63062 h 1116198"/>
                  <a:gd name="connsiteX9" fmla="*/ 2118886 w 2157626"/>
                  <a:gd name="connsiteY9" fmla="*/ 69368 h 1116198"/>
                  <a:gd name="connsiteX10" fmla="*/ 2150417 w 2157626"/>
                  <a:gd name="connsiteY10" fmla="*/ 94593 h 1116198"/>
                  <a:gd name="connsiteX11" fmla="*/ 2156723 w 2157626"/>
                  <a:gd name="connsiteY11" fmla="*/ 113511 h 1116198"/>
                  <a:gd name="connsiteX12" fmla="*/ 2131498 w 2157626"/>
                  <a:gd name="connsiteY12" fmla="*/ 132430 h 1116198"/>
                  <a:gd name="connsiteX13" fmla="*/ 2062130 w 2157626"/>
                  <a:gd name="connsiteY13" fmla="*/ 201798 h 1116198"/>
                  <a:gd name="connsiteX14" fmla="*/ 1917087 w 2157626"/>
                  <a:gd name="connsiteY14" fmla="*/ 447740 h 1116198"/>
                  <a:gd name="connsiteX15" fmla="*/ 1885556 w 2157626"/>
                  <a:gd name="connsiteY15" fmla="*/ 523415 h 1116198"/>
                  <a:gd name="connsiteX16" fmla="*/ 1784657 w 2157626"/>
                  <a:gd name="connsiteY16" fmla="*/ 807194 h 1116198"/>
                  <a:gd name="connsiteX17" fmla="*/ 1778351 w 2157626"/>
                  <a:gd name="connsiteY17" fmla="*/ 838725 h 1116198"/>
                  <a:gd name="connsiteX18" fmla="*/ 1620696 w 2157626"/>
                  <a:gd name="connsiteY18" fmla="*/ 1090974 h 1116198"/>
                  <a:gd name="connsiteX19" fmla="*/ 1576552 w 2157626"/>
                  <a:gd name="connsiteY19" fmla="*/ 1116198 h 1116198"/>
                  <a:gd name="connsiteX20" fmla="*/ 1469347 w 2157626"/>
                  <a:gd name="connsiteY20" fmla="*/ 1002687 h 1116198"/>
                  <a:gd name="connsiteX21" fmla="*/ 794582 w 2157626"/>
                  <a:gd name="connsiteY21" fmla="*/ 441434 h 1116198"/>
                  <a:gd name="connsiteX22" fmla="*/ 252249 w 2157626"/>
                  <a:gd name="connsiteY22" fmla="*/ 126124 h 1116198"/>
                  <a:gd name="connsiteX23" fmla="*/ 214411 w 2157626"/>
                  <a:gd name="connsiteY23" fmla="*/ 107205 h 1116198"/>
                  <a:gd name="connsiteX24" fmla="*/ 163962 w 2157626"/>
                  <a:gd name="connsiteY24" fmla="*/ 69368 h 1116198"/>
                  <a:gd name="connsiteX25" fmla="*/ 75675 w 2157626"/>
                  <a:gd name="connsiteY25" fmla="*/ 37837 h 1116198"/>
                  <a:gd name="connsiteX26" fmla="*/ 56756 w 2157626"/>
                  <a:gd name="connsiteY26" fmla="*/ 50449 h 1116198"/>
                  <a:gd name="connsiteX27" fmla="*/ 63062 w 2157626"/>
                  <a:gd name="connsiteY27"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2118886 w 2157626"/>
                  <a:gd name="connsiteY8" fmla="*/ 69368 h 1116198"/>
                  <a:gd name="connsiteX9" fmla="*/ 2150417 w 2157626"/>
                  <a:gd name="connsiteY9" fmla="*/ 94593 h 1116198"/>
                  <a:gd name="connsiteX10" fmla="*/ 2156723 w 2157626"/>
                  <a:gd name="connsiteY10" fmla="*/ 113511 h 1116198"/>
                  <a:gd name="connsiteX11" fmla="*/ 2131498 w 2157626"/>
                  <a:gd name="connsiteY11" fmla="*/ 132430 h 1116198"/>
                  <a:gd name="connsiteX12" fmla="*/ 2062130 w 2157626"/>
                  <a:gd name="connsiteY12" fmla="*/ 201798 h 1116198"/>
                  <a:gd name="connsiteX13" fmla="*/ 1917087 w 2157626"/>
                  <a:gd name="connsiteY13" fmla="*/ 447740 h 1116198"/>
                  <a:gd name="connsiteX14" fmla="*/ 1885556 w 2157626"/>
                  <a:gd name="connsiteY14" fmla="*/ 523415 h 1116198"/>
                  <a:gd name="connsiteX15" fmla="*/ 1784657 w 2157626"/>
                  <a:gd name="connsiteY15" fmla="*/ 807194 h 1116198"/>
                  <a:gd name="connsiteX16" fmla="*/ 1778351 w 2157626"/>
                  <a:gd name="connsiteY16" fmla="*/ 838725 h 1116198"/>
                  <a:gd name="connsiteX17" fmla="*/ 1620696 w 2157626"/>
                  <a:gd name="connsiteY17" fmla="*/ 1090974 h 1116198"/>
                  <a:gd name="connsiteX18" fmla="*/ 1576552 w 2157626"/>
                  <a:gd name="connsiteY18" fmla="*/ 1116198 h 1116198"/>
                  <a:gd name="connsiteX19" fmla="*/ 1469347 w 2157626"/>
                  <a:gd name="connsiteY19" fmla="*/ 1002687 h 1116198"/>
                  <a:gd name="connsiteX20" fmla="*/ 794582 w 2157626"/>
                  <a:gd name="connsiteY20" fmla="*/ 441434 h 1116198"/>
                  <a:gd name="connsiteX21" fmla="*/ 252249 w 2157626"/>
                  <a:gd name="connsiteY21" fmla="*/ 126124 h 1116198"/>
                  <a:gd name="connsiteX22" fmla="*/ 214411 w 2157626"/>
                  <a:gd name="connsiteY22" fmla="*/ 107205 h 1116198"/>
                  <a:gd name="connsiteX23" fmla="*/ 163962 w 2157626"/>
                  <a:gd name="connsiteY23" fmla="*/ 69368 h 1116198"/>
                  <a:gd name="connsiteX24" fmla="*/ 75675 w 2157626"/>
                  <a:gd name="connsiteY24" fmla="*/ 37837 h 1116198"/>
                  <a:gd name="connsiteX25" fmla="*/ 56756 w 2157626"/>
                  <a:gd name="connsiteY25" fmla="*/ 50449 h 1116198"/>
                  <a:gd name="connsiteX26" fmla="*/ 63062 w 2157626"/>
                  <a:gd name="connsiteY26"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2150417 w 2157626"/>
                  <a:gd name="connsiteY8" fmla="*/ 94593 h 1116198"/>
                  <a:gd name="connsiteX9" fmla="*/ 2156723 w 2157626"/>
                  <a:gd name="connsiteY9" fmla="*/ 113511 h 1116198"/>
                  <a:gd name="connsiteX10" fmla="*/ 2131498 w 2157626"/>
                  <a:gd name="connsiteY10" fmla="*/ 132430 h 1116198"/>
                  <a:gd name="connsiteX11" fmla="*/ 2062130 w 2157626"/>
                  <a:gd name="connsiteY11" fmla="*/ 201798 h 1116198"/>
                  <a:gd name="connsiteX12" fmla="*/ 1917087 w 2157626"/>
                  <a:gd name="connsiteY12" fmla="*/ 447740 h 1116198"/>
                  <a:gd name="connsiteX13" fmla="*/ 1885556 w 2157626"/>
                  <a:gd name="connsiteY13" fmla="*/ 523415 h 1116198"/>
                  <a:gd name="connsiteX14" fmla="*/ 1784657 w 2157626"/>
                  <a:gd name="connsiteY14" fmla="*/ 807194 h 1116198"/>
                  <a:gd name="connsiteX15" fmla="*/ 1778351 w 2157626"/>
                  <a:gd name="connsiteY15" fmla="*/ 838725 h 1116198"/>
                  <a:gd name="connsiteX16" fmla="*/ 1620696 w 2157626"/>
                  <a:gd name="connsiteY16" fmla="*/ 1090974 h 1116198"/>
                  <a:gd name="connsiteX17" fmla="*/ 1576552 w 2157626"/>
                  <a:gd name="connsiteY17" fmla="*/ 1116198 h 1116198"/>
                  <a:gd name="connsiteX18" fmla="*/ 1469347 w 2157626"/>
                  <a:gd name="connsiteY18" fmla="*/ 1002687 h 1116198"/>
                  <a:gd name="connsiteX19" fmla="*/ 794582 w 2157626"/>
                  <a:gd name="connsiteY19" fmla="*/ 441434 h 1116198"/>
                  <a:gd name="connsiteX20" fmla="*/ 252249 w 2157626"/>
                  <a:gd name="connsiteY20" fmla="*/ 126124 h 1116198"/>
                  <a:gd name="connsiteX21" fmla="*/ 214411 w 2157626"/>
                  <a:gd name="connsiteY21" fmla="*/ 107205 h 1116198"/>
                  <a:gd name="connsiteX22" fmla="*/ 163962 w 2157626"/>
                  <a:gd name="connsiteY22" fmla="*/ 69368 h 1116198"/>
                  <a:gd name="connsiteX23" fmla="*/ 75675 w 2157626"/>
                  <a:gd name="connsiteY23" fmla="*/ 37837 h 1116198"/>
                  <a:gd name="connsiteX24" fmla="*/ 56756 w 2157626"/>
                  <a:gd name="connsiteY24" fmla="*/ 50449 h 1116198"/>
                  <a:gd name="connsiteX25" fmla="*/ 63062 w 2157626"/>
                  <a:gd name="connsiteY25" fmla="*/ 50449 h 1116198"/>
                  <a:gd name="connsiteX0" fmla="*/ 0 w 2265800"/>
                  <a:gd name="connsiteY0" fmla="*/ 55353 h 1114795"/>
                  <a:gd name="connsiteX1" fmla="*/ 0 w 2265800"/>
                  <a:gd name="connsiteY1" fmla="*/ 55353 h 1114795"/>
                  <a:gd name="connsiteX2" fmla="*/ 94593 w 2265800"/>
                  <a:gd name="connsiteY2" fmla="*/ 30128 h 1114795"/>
                  <a:gd name="connsiteX3" fmla="*/ 182880 w 2265800"/>
                  <a:gd name="connsiteY3" fmla="*/ 23822 h 1114795"/>
                  <a:gd name="connsiteX4" fmla="*/ 466660 w 2265800"/>
                  <a:gd name="connsiteY4" fmla="*/ 17515 h 1114795"/>
                  <a:gd name="connsiteX5" fmla="*/ 599090 w 2265800"/>
                  <a:gd name="connsiteY5" fmla="*/ 11209 h 1114795"/>
                  <a:gd name="connsiteX6" fmla="*/ 630621 w 2265800"/>
                  <a:gd name="connsiteY6" fmla="*/ 4903 h 1114795"/>
                  <a:gd name="connsiteX7" fmla="*/ 2150417 w 2265800"/>
                  <a:gd name="connsiteY7" fmla="*/ 93190 h 1114795"/>
                  <a:gd name="connsiteX8" fmla="*/ 2156723 w 2265800"/>
                  <a:gd name="connsiteY8" fmla="*/ 112108 h 1114795"/>
                  <a:gd name="connsiteX9" fmla="*/ 2131498 w 2265800"/>
                  <a:gd name="connsiteY9" fmla="*/ 131027 h 1114795"/>
                  <a:gd name="connsiteX10" fmla="*/ 2062130 w 2265800"/>
                  <a:gd name="connsiteY10" fmla="*/ 200395 h 1114795"/>
                  <a:gd name="connsiteX11" fmla="*/ 1917087 w 2265800"/>
                  <a:gd name="connsiteY11" fmla="*/ 446337 h 1114795"/>
                  <a:gd name="connsiteX12" fmla="*/ 1885556 w 2265800"/>
                  <a:gd name="connsiteY12" fmla="*/ 522012 h 1114795"/>
                  <a:gd name="connsiteX13" fmla="*/ 1784657 w 2265800"/>
                  <a:gd name="connsiteY13" fmla="*/ 805791 h 1114795"/>
                  <a:gd name="connsiteX14" fmla="*/ 1778351 w 2265800"/>
                  <a:gd name="connsiteY14" fmla="*/ 837322 h 1114795"/>
                  <a:gd name="connsiteX15" fmla="*/ 1620696 w 2265800"/>
                  <a:gd name="connsiteY15" fmla="*/ 1089571 h 1114795"/>
                  <a:gd name="connsiteX16" fmla="*/ 1576552 w 2265800"/>
                  <a:gd name="connsiteY16" fmla="*/ 1114795 h 1114795"/>
                  <a:gd name="connsiteX17" fmla="*/ 1469347 w 2265800"/>
                  <a:gd name="connsiteY17" fmla="*/ 1001284 h 1114795"/>
                  <a:gd name="connsiteX18" fmla="*/ 794582 w 2265800"/>
                  <a:gd name="connsiteY18" fmla="*/ 440031 h 1114795"/>
                  <a:gd name="connsiteX19" fmla="*/ 252249 w 2265800"/>
                  <a:gd name="connsiteY19" fmla="*/ 124721 h 1114795"/>
                  <a:gd name="connsiteX20" fmla="*/ 214411 w 2265800"/>
                  <a:gd name="connsiteY20" fmla="*/ 105802 h 1114795"/>
                  <a:gd name="connsiteX21" fmla="*/ 163962 w 2265800"/>
                  <a:gd name="connsiteY21" fmla="*/ 67965 h 1114795"/>
                  <a:gd name="connsiteX22" fmla="*/ 75675 w 2265800"/>
                  <a:gd name="connsiteY22" fmla="*/ 36434 h 1114795"/>
                  <a:gd name="connsiteX23" fmla="*/ 56756 w 2265800"/>
                  <a:gd name="connsiteY23" fmla="*/ 49046 h 1114795"/>
                  <a:gd name="connsiteX24" fmla="*/ 63062 w 2265800"/>
                  <a:gd name="connsiteY24" fmla="*/ 49046 h 1114795"/>
                  <a:gd name="connsiteX0" fmla="*/ 0 w 2268134"/>
                  <a:gd name="connsiteY0" fmla="*/ 48794 h 1108236"/>
                  <a:gd name="connsiteX1" fmla="*/ 0 w 2268134"/>
                  <a:gd name="connsiteY1" fmla="*/ 48794 h 1108236"/>
                  <a:gd name="connsiteX2" fmla="*/ 94593 w 2268134"/>
                  <a:gd name="connsiteY2" fmla="*/ 23569 h 1108236"/>
                  <a:gd name="connsiteX3" fmla="*/ 182880 w 2268134"/>
                  <a:gd name="connsiteY3" fmla="*/ 17263 h 1108236"/>
                  <a:gd name="connsiteX4" fmla="*/ 466660 w 2268134"/>
                  <a:gd name="connsiteY4" fmla="*/ 10956 h 1108236"/>
                  <a:gd name="connsiteX5" fmla="*/ 599090 w 2268134"/>
                  <a:gd name="connsiteY5" fmla="*/ 4650 h 1108236"/>
                  <a:gd name="connsiteX6" fmla="*/ 2150417 w 2268134"/>
                  <a:gd name="connsiteY6" fmla="*/ 86631 h 1108236"/>
                  <a:gd name="connsiteX7" fmla="*/ 2156723 w 2268134"/>
                  <a:gd name="connsiteY7" fmla="*/ 105549 h 1108236"/>
                  <a:gd name="connsiteX8" fmla="*/ 2131498 w 2268134"/>
                  <a:gd name="connsiteY8" fmla="*/ 124468 h 1108236"/>
                  <a:gd name="connsiteX9" fmla="*/ 2062130 w 2268134"/>
                  <a:gd name="connsiteY9" fmla="*/ 193836 h 1108236"/>
                  <a:gd name="connsiteX10" fmla="*/ 1917087 w 2268134"/>
                  <a:gd name="connsiteY10" fmla="*/ 439778 h 1108236"/>
                  <a:gd name="connsiteX11" fmla="*/ 1885556 w 2268134"/>
                  <a:gd name="connsiteY11" fmla="*/ 515453 h 1108236"/>
                  <a:gd name="connsiteX12" fmla="*/ 1784657 w 2268134"/>
                  <a:gd name="connsiteY12" fmla="*/ 799232 h 1108236"/>
                  <a:gd name="connsiteX13" fmla="*/ 1778351 w 2268134"/>
                  <a:gd name="connsiteY13" fmla="*/ 830763 h 1108236"/>
                  <a:gd name="connsiteX14" fmla="*/ 1620696 w 2268134"/>
                  <a:gd name="connsiteY14" fmla="*/ 1083012 h 1108236"/>
                  <a:gd name="connsiteX15" fmla="*/ 1576552 w 2268134"/>
                  <a:gd name="connsiteY15" fmla="*/ 1108236 h 1108236"/>
                  <a:gd name="connsiteX16" fmla="*/ 1469347 w 2268134"/>
                  <a:gd name="connsiteY16" fmla="*/ 994725 h 1108236"/>
                  <a:gd name="connsiteX17" fmla="*/ 794582 w 2268134"/>
                  <a:gd name="connsiteY17" fmla="*/ 433472 h 1108236"/>
                  <a:gd name="connsiteX18" fmla="*/ 252249 w 2268134"/>
                  <a:gd name="connsiteY18" fmla="*/ 118162 h 1108236"/>
                  <a:gd name="connsiteX19" fmla="*/ 214411 w 2268134"/>
                  <a:gd name="connsiteY19" fmla="*/ 99243 h 1108236"/>
                  <a:gd name="connsiteX20" fmla="*/ 163962 w 2268134"/>
                  <a:gd name="connsiteY20" fmla="*/ 61406 h 1108236"/>
                  <a:gd name="connsiteX21" fmla="*/ 75675 w 2268134"/>
                  <a:gd name="connsiteY21" fmla="*/ 29875 h 1108236"/>
                  <a:gd name="connsiteX22" fmla="*/ 56756 w 2268134"/>
                  <a:gd name="connsiteY22" fmla="*/ 42487 h 1108236"/>
                  <a:gd name="connsiteX23" fmla="*/ 63062 w 2268134"/>
                  <a:gd name="connsiteY23" fmla="*/ 42487 h 1108236"/>
                  <a:gd name="connsiteX0" fmla="*/ 0 w 2277941"/>
                  <a:gd name="connsiteY0" fmla="*/ 37838 h 1097280"/>
                  <a:gd name="connsiteX1" fmla="*/ 0 w 2277941"/>
                  <a:gd name="connsiteY1" fmla="*/ 37838 h 1097280"/>
                  <a:gd name="connsiteX2" fmla="*/ 94593 w 2277941"/>
                  <a:gd name="connsiteY2" fmla="*/ 12613 h 1097280"/>
                  <a:gd name="connsiteX3" fmla="*/ 182880 w 2277941"/>
                  <a:gd name="connsiteY3" fmla="*/ 6307 h 1097280"/>
                  <a:gd name="connsiteX4" fmla="*/ 466660 w 2277941"/>
                  <a:gd name="connsiteY4" fmla="*/ 0 h 1097280"/>
                  <a:gd name="connsiteX5" fmla="*/ 2150417 w 2277941"/>
                  <a:gd name="connsiteY5" fmla="*/ 75675 h 1097280"/>
                  <a:gd name="connsiteX6" fmla="*/ 2156723 w 2277941"/>
                  <a:gd name="connsiteY6" fmla="*/ 94593 h 1097280"/>
                  <a:gd name="connsiteX7" fmla="*/ 2131498 w 2277941"/>
                  <a:gd name="connsiteY7" fmla="*/ 113512 h 1097280"/>
                  <a:gd name="connsiteX8" fmla="*/ 2062130 w 2277941"/>
                  <a:gd name="connsiteY8" fmla="*/ 182880 h 1097280"/>
                  <a:gd name="connsiteX9" fmla="*/ 1917087 w 2277941"/>
                  <a:gd name="connsiteY9" fmla="*/ 428822 h 1097280"/>
                  <a:gd name="connsiteX10" fmla="*/ 1885556 w 2277941"/>
                  <a:gd name="connsiteY10" fmla="*/ 504497 h 1097280"/>
                  <a:gd name="connsiteX11" fmla="*/ 1784657 w 2277941"/>
                  <a:gd name="connsiteY11" fmla="*/ 788276 h 1097280"/>
                  <a:gd name="connsiteX12" fmla="*/ 1778351 w 2277941"/>
                  <a:gd name="connsiteY12" fmla="*/ 819807 h 1097280"/>
                  <a:gd name="connsiteX13" fmla="*/ 1620696 w 2277941"/>
                  <a:gd name="connsiteY13" fmla="*/ 1072056 h 1097280"/>
                  <a:gd name="connsiteX14" fmla="*/ 1576552 w 2277941"/>
                  <a:gd name="connsiteY14" fmla="*/ 1097280 h 1097280"/>
                  <a:gd name="connsiteX15" fmla="*/ 1469347 w 2277941"/>
                  <a:gd name="connsiteY15" fmla="*/ 983769 h 1097280"/>
                  <a:gd name="connsiteX16" fmla="*/ 794582 w 2277941"/>
                  <a:gd name="connsiteY16" fmla="*/ 422516 h 1097280"/>
                  <a:gd name="connsiteX17" fmla="*/ 252249 w 2277941"/>
                  <a:gd name="connsiteY17" fmla="*/ 107206 h 1097280"/>
                  <a:gd name="connsiteX18" fmla="*/ 214411 w 2277941"/>
                  <a:gd name="connsiteY18" fmla="*/ 88287 h 1097280"/>
                  <a:gd name="connsiteX19" fmla="*/ 163962 w 2277941"/>
                  <a:gd name="connsiteY19" fmla="*/ 50450 h 1097280"/>
                  <a:gd name="connsiteX20" fmla="*/ 75675 w 2277941"/>
                  <a:gd name="connsiteY20" fmla="*/ 18919 h 1097280"/>
                  <a:gd name="connsiteX21" fmla="*/ 56756 w 2277941"/>
                  <a:gd name="connsiteY21" fmla="*/ 31531 h 1097280"/>
                  <a:gd name="connsiteX22" fmla="*/ 63062 w 2277941"/>
                  <a:gd name="connsiteY22" fmla="*/ 31531 h 1097280"/>
                  <a:gd name="connsiteX0" fmla="*/ 0 w 2298956"/>
                  <a:gd name="connsiteY0" fmla="*/ 35755 h 1095197"/>
                  <a:gd name="connsiteX1" fmla="*/ 0 w 2298956"/>
                  <a:gd name="connsiteY1" fmla="*/ 35755 h 1095197"/>
                  <a:gd name="connsiteX2" fmla="*/ 94593 w 2298956"/>
                  <a:gd name="connsiteY2" fmla="*/ 10530 h 1095197"/>
                  <a:gd name="connsiteX3" fmla="*/ 182880 w 2298956"/>
                  <a:gd name="connsiteY3" fmla="*/ 4224 h 1095197"/>
                  <a:gd name="connsiteX4" fmla="*/ 2150417 w 2298956"/>
                  <a:gd name="connsiteY4" fmla="*/ 73592 h 1095197"/>
                  <a:gd name="connsiteX5" fmla="*/ 2156723 w 2298956"/>
                  <a:gd name="connsiteY5" fmla="*/ 92510 h 1095197"/>
                  <a:gd name="connsiteX6" fmla="*/ 2131498 w 2298956"/>
                  <a:gd name="connsiteY6" fmla="*/ 111429 h 1095197"/>
                  <a:gd name="connsiteX7" fmla="*/ 2062130 w 2298956"/>
                  <a:gd name="connsiteY7" fmla="*/ 180797 h 1095197"/>
                  <a:gd name="connsiteX8" fmla="*/ 1917087 w 2298956"/>
                  <a:gd name="connsiteY8" fmla="*/ 426739 h 1095197"/>
                  <a:gd name="connsiteX9" fmla="*/ 1885556 w 2298956"/>
                  <a:gd name="connsiteY9" fmla="*/ 502414 h 1095197"/>
                  <a:gd name="connsiteX10" fmla="*/ 1784657 w 2298956"/>
                  <a:gd name="connsiteY10" fmla="*/ 786193 h 1095197"/>
                  <a:gd name="connsiteX11" fmla="*/ 1778351 w 2298956"/>
                  <a:gd name="connsiteY11" fmla="*/ 817724 h 1095197"/>
                  <a:gd name="connsiteX12" fmla="*/ 1620696 w 2298956"/>
                  <a:gd name="connsiteY12" fmla="*/ 1069973 h 1095197"/>
                  <a:gd name="connsiteX13" fmla="*/ 1576552 w 2298956"/>
                  <a:gd name="connsiteY13" fmla="*/ 1095197 h 1095197"/>
                  <a:gd name="connsiteX14" fmla="*/ 1469347 w 2298956"/>
                  <a:gd name="connsiteY14" fmla="*/ 981686 h 1095197"/>
                  <a:gd name="connsiteX15" fmla="*/ 794582 w 2298956"/>
                  <a:gd name="connsiteY15" fmla="*/ 420433 h 1095197"/>
                  <a:gd name="connsiteX16" fmla="*/ 252249 w 2298956"/>
                  <a:gd name="connsiteY16" fmla="*/ 105123 h 1095197"/>
                  <a:gd name="connsiteX17" fmla="*/ 214411 w 2298956"/>
                  <a:gd name="connsiteY17" fmla="*/ 86204 h 1095197"/>
                  <a:gd name="connsiteX18" fmla="*/ 163962 w 2298956"/>
                  <a:gd name="connsiteY18" fmla="*/ 48367 h 1095197"/>
                  <a:gd name="connsiteX19" fmla="*/ 75675 w 2298956"/>
                  <a:gd name="connsiteY19" fmla="*/ 16836 h 1095197"/>
                  <a:gd name="connsiteX20" fmla="*/ 56756 w 2298956"/>
                  <a:gd name="connsiteY20" fmla="*/ 29448 h 1095197"/>
                  <a:gd name="connsiteX21" fmla="*/ 63062 w 2298956"/>
                  <a:gd name="connsiteY21" fmla="*/ 29448 h 1095197"/>
                  <a:gd name="connsiteX0" fmla="*/ 11516 w 2240901"/>
                  <a:gd name="connsiteY0" fmla="*/ 46931 h 1106373"/>
                  <a:gd name="connsiteX1" fmla="*/ 11516 w 2240901"/>
                  <a:gd name="connsiteY1" fmla="*/ 46931 h 1106373"/>
                  <a:gd name="connsiteX2" fmla="*/ 106109 w 2240901"/>
                  <a:gd name="connsiteY2" fmla="*/ 21706 h 1106373"/>
                  <a:gd name="connsiteX3" fmla="*/ 1134021 w 2240901"/>
                  <a:gd name="connsiteY3" fmla="*/ 2787 h 1106373"/>
                  <a:gd name="connsiteX4" fmla="*/ 2161933 w 2240901"/>
                  <a:gd name="connsiteY4" fmla="*/ 84768 h 1106373"/>
                  <a:gd name="connsiteX5" fmla="*/ 2168239 w 2240901"/>
                  <a:gd name="connsiteY5" fmla="*/ 103686 h 1106373"/>
                  <a:gd name="connsiteX6" fmla="*/ 2143014 w 2240901"/>
                  <a:gd name="connsiteY6" fmla="*/ 122605 h 1106373"/>
                  <a:gd name="connsiteX7" fmla="*/ 2073646 w 2240901"/>
                  <a:gd name="connsiteY7" fmla="*/ 191973 h 1106373"/>
                  <a:gd name="connsiteX8" fmla="*/ 1928603 w 2240901"/>
                  <a:gd name="connsiteY8" fmla="*/ 437915 h 1106373"/>
                  <a:gd name="connsiteX9" fmla="*/ 1897072 w 2240901"/>
                  <a:gd name="connsiteY9" fmla="*/ 513590 h 1106373"/>
                  <a:gd name="connsiteX10" fmla="*/ 1796173 w 2240901"/>
                  <a:gd name="connsiteY10" fmla="*/ 797369 h 1106373"/>
                  <a:gd name="connsiteX11" fmla="*/ 1789867 w 2240901"/>
                  <a:gd name="connsiteY11" fmla="*/ 828900 h 1106373"/>
                  <a:gd name="connsiteX12" fmla="*/ 1632212 w 2240901"/>
                  <a:gd name="connsiteY12" fmla="*/ 1081149 h 1106373"/>
                  <a:gd name="connsiteX13" fmla="*/ 1588068 w 2240901"/>
                  <a:gd name="connsiteY13" fmla="*/ 1106373 h 1106373"/>
                  <a:gd name="connsiteX14" fmla="*/ 1480863 w 2240901"/>
                  <a:gd name="connsiteY14" fmla="*/ 992862 h 1106373"/>
                  <a:gd name="connsiteX15" fmla="*/ 806098 w 2240901"/>
                  <a:gd name="connsiteY15" fmla="*/ 431609 h 1106373"/>
                  <a:gd name="connsiteX16" fmla="*/ 263765 w 2240901"/>
                  <a:gd name="connsiteY16" fmla="*/ 116299 h 1106373"/>
                  <a:gd name="connsiteX17" fmla="*/ 225927 w 2240901"/>
                  <a:gd name="connsiteY17" fmla="*/ 97380 h 1106373"/>
                  <a:gd name="connsiteX18" fmla="*/ 175478 w 2240901"/>
                  <a:gd name="connsiteY18" fmla="*/ 59543 h 1106373"/>
                  <a:gd name="connsiteX19" fmla="*/ 87191 w 2240901"/>
                  <a:gd name="connsiteY19" fmla="*/ 28012 h 1106373"/>
                  <a:gd name="connsiteX20" fmla="*/ 68272 w 2240901"/>
                  <a:gd name="connsiteY20" fmla="*/ 40624 h 1106373"/>
                  <a:gd name="connsiteX21" fmla="*/ 74578 w 2240901"/>
                  <a:gd name="connsiteY21" fmla="*/ 40624 h 1106373"/>
                  <a:gd name="connsiteX0" fmla="*/ 0 w 2229385"/>
                  <a:gd name="connsiteY0" fmla="*/ 46931 h 1106373"/>
                  <a:gd name="connsiteX1" fmla="*/ 94593 w 2229385"/>
                  <a:gd name="connsiteY1" fmla="*/ 21706 h 1106373"/>
                  <a:gd name="connsiteX2" fmla="*/ 1122505 w 2229385"/>
                  <a:gd name="connsiteY2" fmla="*/ 2787 h 1106373"/>
                  <a:gd name="connsiteX3" fmla="*/ 2150417 w 2229385"/>
                  <a:gd name="connsiteY3" fmla="*/ 84768 h 1106373"/>
                  <a:gd name="connsiteX4" fmla="*/ 2156723 w 2229385"/>
                  <a:gd name="connsiteY4" fmla="*/ 103686 h 1106373"/>
                  <a:gd name="connsiteX5" fmla="*/ 2131498 w 2229385"/>
                  <a:gd name="connsiteY5" fmla="*/ 122605 h 1106373"/>
                  <a:gd name="connsiteX6" fmla="*/ 2062130 w 2229385"/>
                  <a:gd name="connsiteY6" fmla="*/ 191973 h 1106373"/>
                  <a:gd name="connsiteX7" fmla="*/ 1917087 w 2229385"/>
                  <a:gd name="connsiteY7" fmla="*/ 437915 h 1106373"/>
                  <a:gd name="connsiteX8" fmla="*/ 1885556 w 2229385"/>
                  <a:gd name="connsiteY8" fmla="*/ 513590 h 1106373"/>
                  <a:gd name="connsiteX9" fmla="*/ 1784657 w 2229385"/>
                  <a:gd name="connsiteY9" fmla="*/ 797369 h 1106373"/>
                  <a:gd name="connsiteX10" fmla="*/ 1778351 w 2229385"/>
                  <a:gd name="connsiteY10" fmla="*/ 828900 h 1106373"/>
                  <a:gd name="connsiteX11" fmla="*/ 1620696 w 2229385"/>
                  <a:gd name="connsiteY11" fmla="*/ 1081149 h 1106373"/>
                  <a:gd name="connsiteX12" fmla="*/ 1576552 w 2229385"/>
                  <a:gd name="connsiteY12" fmla="*/ 1106373 h 1106373"/>
                  <a:gd name="connsiteX13" fmla="*/ 1469347 w 2229385"/>
                  <a:gd name="connsiteY13" fmla="*/ 992862 h 1106373"/>
                  <a:gd name="connsiteX14" fmla="*/ 794582 w 2229385"/>
                  <a:gd name="connsiteY14" fmla="*/ 431609 h 1106373"/>
                  <a:gd name="connsiteX15" fmla="*/ 252249 w 2229385"/>
                  <a:gd name="connsiteY15" fmla="*/ 116299 h 1106373"/>
                  <a:gd name="connsiteX16" fmla="*/ 214411 w 2229385"/>
                  <a:gd name="connsiteY16" fmla="*/ 97380 h 1106373"/>
                  <a:gd name="connsiteX17" fmla="*/ 163962 w 2229385"/>
                  <a:gd name="connsiteY17" fmla="*/ 59543 h 1106373"/>
                  <a:gd name="connsiteX18" fmla="*/ 75675 w 2229385"/>
                  <a:gd name="connsiteY18" fmla="*/ 28012 h 1106373"/>
                  <a:gd name="connsiteX19" fmla="*/ 56756 w 2229385"/>
                  <a:gd name="connsiteY19" fmla="*/ 40624 h 1106373"/>
                  <a:gd name="connsiteX20" fmla="*/ 63062 w 2229385"/>
                  <a:gd name="connsiteY20" fmla="*/ 40624 h 1106373"/>
                  <a:gd name="connsiteX0" fmla="*/ 0 w 2229385"/>
                  <a:gd name="connsiteY0" fmla="*/ 46931 h 1106373"/>
                  <a:gd name="connsiteX1" fmla="*/ 94593 w 2229385"/>
                  <a:gd name="connsiteY1" fmla="*/ 21706 h 1106373"/>
                  <a:gd name="connsiteX2" fmla="*/ 1122505 w 2229385"/>
                  <a:gd name="connsiteY2" fmla="*/ 2787 h 1106373"/>
                  <a:gd name="connsiteX3" fmla="*/ 2150417 w 2229385"/>
                  <a:gd name="connsiteY3" fmla="*/ 84768 h 1106373"/>
                  <a:gd name="connsiteX4" fmla="*/ 2156723 w 2229385"/>
                  <a:gd name="connsiteY4" fmla="*/ 103686 h 1106373"/>
                  <a:gd name="connsiteX5" fmla="*/ 2131498 w 2229385"/>
                  <a:gd name="connsiteY5" fmla="*/ 122605 h 1106373"/>
                  <a:gd name="connsiteX6" fmla="*/ 2062130 w 2229385"/>
                  <a:gd name="connsiteY6" fmla="*/ 191973 h 1106373"/>
                  <a:gd name="connsiteX7" fmla="*/ 1917087 w 2229385"/>
                  <a:gd name="connsiteY7" fmla="*/ 437915 h 1106373"/>
                  <a:gd name="connsiteX8" fmla="*/ 1885556 w 2229385"/>
                  <a:gd name="connsiteY8" fmla="*/ 513590 h 1106373"/>
                  <a:gd name="connsiteX9" fmla="*/ 1784657 w 2229385"/>
                  <a:gd name="connsiteY9" fmla="*/ 797369 h 1106373"/>
                  <a:gd name="connsiteX10" fmla="*/ 1778351 w 2229385"/>
                  <a:gd name="connsiteY10" fmla="*/ 828900 h 1106373"/>
                  <a:gd name="connsiteX11" fmla="*/ 1620696 w 2229385"/>
                  <a:gd name="connsiteY11" fmla="*/ 1081149 h 1106373"/>
                  <a:gd name="connsiteX12" fmla="*/ 1576552 w 2229385"/>
                  <a:gd name="connsiteY12" fmla="*/ 1106373 h 1106373"/>
                  <a:gd name="connsiteX13" fmla="*/ 1469347 w 2229385"/>
                  <a:gd name="connsiteY13" fmla="*/ 992862 h 1106373"/>
                  <a:gd name="connsiteX14" fmla="*/ 794582 w 2229385"/>
                  <a:gd name="connsiteY14" fmla="*/ 431609 h 1106373"/>
                  <a:gd name="connsiteX15" fmla="*/ 252249 w 2229385"/>
                  <a:gd name="connsiteY15" fmla="*/ 116299 h 1106373"/>
                  <a:gd name="connsiteX16" fmla="*/ 214411 w 2229385"/>
                  <a:gd name="connsiteY16" fmla="*/ 97380 h 1106373"/>
                  <a:gd name="connsiteX17" fmla="*/ 163962 w 2229385"/>
                  <a:gd name="connsiteY17" fmla="*/ 59543 h 1106373"/>
                  <a:gd name="connsiteX18" fmla="*/ 75675 w 2229385"/>
                  <a:gd name="connsiteY18" fmla="*/ 28012 h 1106373"/>
                  <a:gd name="connsiteX19" fmla="*/ 56756 w 2229385"/>
                  <a:gd name="connsiteY19" fmla="*/ 40624 h 1106373"/>
                  <a:gd name="connsiteX0" fmla="*/ 37837 w 2172629"/>
                  <a:gd name="connsiteY0" fmla="*/ 21706 h 1106373"/>
                  <a:gd name="connsiteX1" fmla="*/ 1065749 w 2172629"/>
                  <a:gd name="connsiteY1" fmla="*/ 2787 h 1106373"/>
                  <a:gd name="connsiteX2" fmla="*/ 2093661 w 2172629"/>
                  <a:gd name="connsiteY2" fmla="*/ 84768 h 1106373"/>
                  <a:gd name="connsiteX3" fmla="*/ 2099967 w 2172629"/>
                  <a:gd name="connsiteY3" fmla="*/ 103686 h 1106373"/>
                  <a:gd name="connsiteX4" fmla="*/ 2074742 w 2172629"/>
                  <a:gd name="connsiteY4" fmla="*/ 122605 h 1106373"/>
                  <a:gd name="connsiteX5" fmla="*/ 2005374 w 2172629"/>
                  <a:gd name="connsiteY5" fmla="*/ 191973 h 1106373"/>
                  <a:gd name="connsiteX6" fmla="*/ 1860331 w 2172629"/>
                  <a:gd name="connsiteY6" fmla="*/ 437915 h 1106373"/>
                  <a:gd name="connsiteX7" fmla="*/ 1828800 w 2172629"/>
                  <a:gd name="connsiteY7" fmla="*/ 513590 h 1106373"/>
                  <a:gd name="connsiteX8" fmla="*/ 1727901 w 2172629"/>
                  <a:gd name="connsiteY8" fmla="*/ 797369 h 1106373"/>
                  <a:gd name="connsiteX9" fmla="*/ 1721595 w 2172629"/>
                  <a:gd name="connsiteY9" fmla="*/ 828900 h 1106373"/>
                  <a:gd name="connsiteX10" fmla="*/ 1563940 w 2172629"/>
                  <a:gd name="connsiteY10" fmla="*/ 1081149 h 1106373"/>
                  <a:gd name="connsiteX11" fmla="*/ 1519796 w 2172629"/>
                  <a:gd name="connsiteY11" fmla="*/ 1106373 h 1106373"/>
                  <a:gd name="connsiteX12" fmla="*/ 1412591 w 2172629"/>
                  <a:gd name="connsiteY12" fmla="*/ 992862 h 1106373"/>
                  <a:gd name="connsiteX13" fmla="*/ 737826 w 2172629"/>
                  <a:gd name="connsiteY13" fmla="*/ 431609 h 1106373"/>
                  <a:gd name="connsiteX14" fmla="*/ 195493 w 2172629"/>
                  <a:gd name="connsiteY14" fmla="*/ 116299 h 1106373"/>
                  <a:gd name="connsiteX15" fmla="*/ 157655 w 2172629"/>
                  <a:gd name="connsiteY15" fmla="*/ 97380 h 1106373"/>
                  <a:gd name="connsiteX16" fmla="*/ 107206 w 2172629"/>
                  <a:gd name="connsiteY16" fmla="*/ 59543 h 1106373"/>
                  <a:gd name="connsiteX17" fmla="*/ 18919 w 2172629"/>
                  <a:gd name="connsiteY17" fmla="*/ 28012 h 1106373"/>
                  <a:gd name="connsiteX18" fmla="*/ 0 w 2172629"/>
                  <a:gd name="connsiteY18" fmla="*/ 40624 h 1106373"/>
                  <a:gd name="connsiteX0" fmla="*/ 18918 w 2153710"/>
                  <a:gd name="connsiteY0" fmla="*/ 21706 h 1106373"/>
                  <a:gd name="connsiteX1" fmla="*/ 1046830 w 2153710"/>
                  <a:gd name="connsiteY1" fmla="*/ 2787 h 1106373"/>
                  <a:gd name="connsiteX2" fmla="*/ 2074742 w 2153710"/>
                  <a:gd name="connsiteY2" fmla="*/ 84768 h 1106373"/>
                  <a:gd name="connsiteX3" fmla="*/ 2081048 w 2153710"/>
                  <a:gd name="connsiteY3" fmla="*/ 103686 h 1106373"/>
                  <a:gd name="connsiteX4" fmla="*/ 2055823 w 2153710"/>
                  <a:gd name="connsiteY4" fmla="*/ 122605 h 1106373"/>
                  <a:gd name="connsiteX5" fmla="*/ 1986455 w 2153710"/>
                  <a:gd name="connsiteY5" fmla="*/ 191973 h 1106373"/>
                  <a:gd name="connsiteX6" fmla="*/ 1841412 w 2153710"/>
                  <a:gd name="connsiteY6" fmla="*/ 437915 h 1106373"/>
                  <a:gd name="connsiteX7" fmla="*/ 1809881 w 2153710"/>
                  <a:gd name="connsiteY7" fmla="*/ 513590 h 1106373"/>
                  <a:gd name="connsiteX8" fmla="*/ 1708982 w 2153710"/>
                  <a:gd name="connsiteY8" fmla="*/ 797369 h 1106373"/>
                  <a:gd name="connsiteX9" fmla="*/ 1702676 w 2153710"/>
                  <a:gd name="connsiteY9" fmla="*/ 828900 h 1106373"/>
                  <a:gd name="connsiteX10" fmla="*/ 1545021 w 2153710"/>
                  <a:gd name="connsiteY10" fmla="*/ 1081149 h 1106373"/>
                  <a:gd name="connsiteX11" fmla="*/ 1500877 w 2153710"/>
                  <a:gd name="connsiteY11" fmla="*/ 1106373 h 1106373"/>
                  <a:gd name="connsiteX12" fmla="*/ 1393672 w 2153710"/>
                  <a:gd name="connsiteY12" fmla="*/ 992862 h 1106373"/>
                  <a:gd name="connsiteX13" fmla="*/ 718907 w 2153710"/>
                  <a:gd name="connsiteY13" fmla="*/ 431609 h 1106373"/>
                  <a:gd name="connsiteX14" fmla="*/ 176574 w 2153710"/>
                  <a:gd name="connsiteY14" fmla="*/ 116299 h 1106373"/>
                  <a:gd name="connsiteX15" fmla="*/ 138736 w 2153710"/>
                  <a:gd name="connsiteY15" fmla="*/ 97380 h 1106373"/>
                  <a:gd name="connsiteX16" fmla="*/ 88287 w 2153710"/>
                  <a:gd name="connsiteY16" fmla="*/ 59543 h 1106373"/>
                  <a:gd name="connsiteX17" fmla="*/ 0 w 2153710"/>
                  <a:gd name="connsiteY17" fmla="*/ 28012 h 1106373"/>
                  <a:gd name="connsiteX0" fmla="*/ 0 w 2134792"/>
                  <a:gd name="connsiteY0" fmla="*/ 21706 h 1106373"/>
                  <a:gd name="connsiteX1" fmla="*/ 1027912 w 2134792"/>
                  <a:gd name="connsiteY1" fmla="*/ 2787 h 1106373"/>
                  <a:gd name="connsiteX2" fmla="*/ 2055824 w 2134792"/>
                  <a:gd name="connsiteY2" fmla="*/ 84768 h 1106373"/>
                  <a:gd name="connsiteX3" fmla="*/ 2062130 w 2134792"/>
                  <a:gd name="connsiteY3" fmla="*/ 103686 h 1106373"/>
                  <a:gd name="connsiteX4" fmla="*/ 2036905 w 2134792"/>
                  <a:gd name="connsiteY4" fmla="*/ 122605 h 1106373"/>
                  <a:gd name="connsiteX5" fmla="*/ 1967537 w 2134792"/>
                  <a:gd name="connsiteY5" fmla="*/ 191973 h 1106373"/>
                  <a:gd name="connsiteX6" fmla="*/ 1822494 w 2134792"/>
                  <a:gd name="connsiteY6" fmla="*/ 437915 h 1106373"/>
                  <a:gd name="connsiteX7" fmla="*/ 1790963 w 2134792"/>
                  <a:gd name="connsiteY7" fmla="*/ 513590 h 1106373"/>
                  <a:gd name="connsiteX8" fmla="*/ 1690064 w 2134792"/>
                  <a:gd name="connsiteY8" fmla="*/ 797369 h 1106373"/>
                  <a:gd name="connsiteX9" fmla="*/ 1683758 w 2134792"/>
                  <a:gd name="connsiteY9" fmla="*/ 828900 h 1106373"/>
                  <a:gd name="connsiteX10" fmla="*/ 1526103 w 2134792"/>
                  <a:gd name="connsiteY10" fmla="*/ 1081149 h 1106373"/>
                  <a:gd name="connsiteX11" fmla="*/ 1481959 w 2134792"/>
                  <a:gd name="connsiteY11" fmla="*/ 1106373 h 1106373"/>
                  <a:gd name="connsiteX12" fmla="*/ 1374754 w 2134792"/>
                  <a:gd name="connsiteY12" fmla="*/ 992862 h 1106373"/>
                  <a:gd name="connsiteX13" fmla="*/ 699989 w 2134792"/>
                  <a:gd name="connsiteY13" fmla="*/ 431609 h 1106373"/>
                  <a:gd name="connsiteX14" fmla="*/ 157656 w 2134792"/>
                  <a:gd name="connsiteY14" fmla="*/ 116299 h 1106373"/>
                  <a:gd name="connsiteX15" fmla="*/ 119818 w 2134792"/>
                  <a:gd name="connsiteY15" fmla="*/ 97380 h 1106373"/>
                  <a:gd name="connsiteX16" fmla="*/ 69369 w 2134792"/>
                  <a:gd name="connsiteY16" fmla="*/ 59543 h 1106373"/>
                  <a:gd name="connsiteX0" fmla="*/ 958543 w 2065423"/>
                  <a:gd name="connsiteY0" fmla="*/ 0 h 1103586"/>
                  <a:gd name="connsiteX1" fmla="*/ 1986455 w 2065423"/>
                  <a:gd name="connsiteY1" fmla="*/ 81981 h 1103586"/>
                  <a:gd name="connsiteX2" fmla="*/ 1992761 w 2065423"/>
                  <a:gd name="connsiteY2" fmla="*/ 100899 h 1103586"/>
                  <a:gd name="connsiteX3" fmla="*/ 1967536 w 2065423"/>
                  <a:gd name="connsiteY3" fmla="*/ 119818 h 1103586"/>
                  <a:gd name="connsiteX4" fmla="*/ 1898168 w 2065423"/>
                  <a:gd name="connsiteY4" fmla="*/ 189186 h 1103586"/>
                  <a:gd name="connsiteX5" fmla="*/ 1753125 w 2065423"/>
                  <a:gd name="connsiteY5" fmla="*/ 435128 h 1103586"/>
                  <a:gd name="connsiteX6" fmla="*/ 1721594 w 2065423"/>
                  <a:gd name="connsiteY6" fmla="*/ 510803 h 1103586"/>
                  <a:gd name="connsiteX7" fmla="*/ 1620695 w 2065423"/>
                  <a:gd name="connsiteY7" fmla="*/ 794582 h 1103586"/>
                  <a:gd name="connsiteX8" fmla="*/ 1614389 w 2065423"/>
                  <a:gd name="connsiteY8" fmla="*/ 826113 h 1103586"/>
                  <a:gd name="connsiteX9" fmla="*/ 1456734 w 2065423"/>
                  <a:gd name="connsiteY9" fmla="*/ 1078362 h 1103586"/>
                  <a:gd name="connsiteX10" fmla="*/ 1412590 w 2065423"/>
                  <a:gd name="connsiteY10" fmla="*/ 1103586 h 1103586"/>
                  <a:gd name="connsiteX11" fmla="*/ 1305385 w 2065423"/>
                  <a:gd name="connsiteY11" fmla="*/ 990075 h 1103586"/>
                  <a:gd name="connsiteX12" fmla="*/ 630620 w 2065423"/>
                  <a:gd name="connsiteY12" fmla="*/ 428822 h 1103586"/>
                  <a:gd name="connsiteX13" fmla="*/ 88287 w 2065423"/>
                  <a:gd name="connsiteY13" fmla="*/ 113512 h 1103586"/>
                  <a:gd name="connsiteX14" fmla="*/ 50449 w 2065423"/>
                  <a:gd name="connsiteY14" fmla="*/ 94593 h 1103586"/>
                  <a:gd name="connsiteX15" fmla="*/ 0 w 2065423"/>
                  <a:gd name="connsiteY15" fmla="*/ 56756 h 1103586"/>
                  <a:gd name="connsiteX0" fmla="*/ 1027912 w 2134792"/>
                  <a:gd name="connsiteY0" fmla="*/ 0 h 1103586"/>
                  <a:gd name="connsiteX1" fmla="*/ 2055824 w 2134792"/>
                  <a:gd name="connsiteY1" fmla="*/ 81981 h 1103586"/>
                  <a:gd name="connsiteX2" fmla="*/ 2062130 w 2134792"/>
                  <a:gd name="connsiteY2" fmla="*/ 100899 h 1103586"/>
                  <a:gd name="connsiteX3" fmla="*/ 2036905 w 2134792"/>
                  <a:gd name="connsiteY3" fmla="*/ 119818 h 1103586"/>
                  <a:gd name="connsiteX4" fmla="*/ 1967537 w 2134792"/>
                  <a:gd name="connsiteY4" fmla="*/ 189186 h 1103586"/>
                  <a:gd name="connsiteX5" fmla="*/ 1822494 w 2134792"/>
                  <a:gd name="connsiteY5" fmla="*/ 435128 h 1103586"/>
                  <a:gd name="connsiteX6" fmla="*/ 1790963 w 2134792"/>
                  <a:gd name="connsiteY6" fmla="*/ 510803 h 1103586"/>
                  <a:gd name="connsiteX7" fmla="*/ 1690064 w 2134792"/>
                  <a:gd name="connsiteY7" fmla="*/ 794582 h 1103586"/>
                  <a:gd name="connsiteX8" fmla="*/ 1683758 w 2134792"/>
                  <a:gd name="connsiteY8" fmla="*/ 826113 h 1103586"/>
                  <a:gd name="connsiteX9" fmla="*/ 1526103 w 2134792"/>
                  <a:gd name="connsiteY9" fmla="*/ 1078362 h 1103586"/>
                  <a:gd name="connsiteX10" fmla="*/ 1481959 w 2134792"/>
                  <a:gd name="connsiteY10" fmla="*/ 1103586 h 1103586"/>
                  <a:gd name="connsiteX11" fmla="*/ 1374754 w 2134792"/>
                  <a:gd name="connsiteY11" fmla="*/ 990075 h 1103586"/>
                  <a:gd name="connsiteX12" fmla="*/ 699989 w 2134792"/>
                  <a:gd name="connsiteY12" fmla="*/ 428822 h 1103586"/>
                  <a:gd name="connsiteX13" fmla="*/ 157656 w 2134792"/>
                  <a:gd name="connsiteY13" fmla="*/ 113512 h 1103586"/>
                  <a:gd name="connsiteX14" fmla="*/ 119818 w 2134792"/>
                  <a:gd name="connsiteY14" fmla="*/ 94593 h 1103586"/>
                  <a:gd name="connsiteX15" fmla="*/ 0 w 2134792"/>
                  <a:gd name="connsiteY15" fmla="*/ 94593 h 1103586"/>
                  <a:gd name="connsiteX0" fmla="*/ 0 w 2800174"/>
                  <a:gd name="connsiteY0" fmla="*/ 0 h 1154036"/>
                  <a:gd name="connsiteX1" fmla="*/ 2604464 w 2800174"/>
                  <a:gd name="connsiteY1" fmla="*/ 132431 h 1154036"/>
                  <a:gd name="connsiteX2" fmla="*/ 2610770 w 2800174"/>
                  <a:gd name="connsiteY2" fmla="*/ 151349 h 1154036"/>
                  <a:gd name="connsiteX3" fmla="*/ 2585545 w 2800174"/>
                  <a:gd name="connsiteY3" fmla="*/ 170268 h 1154036"/>
                  <a:gd name="connsiteX4" fmla="*/ 2516177 w 2800174"/>
                  <a:gd name="connsiteY4" fmla="*/ 239636 h 1154036"/>
                  <a:gd name="connsiteX5" fmla="*/ 2371134 w 2800174"/>
                  <a:gd name="connsiteY5" fmla="*/ 485578 h 1154036"/>
                  <a:gd name="connsiteX6" fmla="*/ 2339603 w 2800174"/>
                  <a:gd name="connsiteY6" fmla="*/ 561253 h 1154036"/>
                  <a:gd name="connsiteX7" fmla="*/ 2238704 w 2800174"/>
                  <a:gd name="connsiteY7" fmla="*/ 845032 h 1154036"/>
                  <a:gd name="connsiteX8" fmla="*/ 2232398 w 2800174"/>
                  <a:gd name="connsiteY8" fmla="*/ 876563 h 1154036"/>
                  <a:gd name="connsiteX9" fmla="*/ 2074743 w 2800174"/>
                  <a:gd name="connsiteY9" fmla="*/ 1128812 h 1154036"/>
                  <a:gd name="connsiteX10" fmla="*/ 2030599 w 2800174"/>
                  <a:gd name="connsiteY10" fmla="*/ 1154036 h 1154036"/>
                  <a:gd name="connsiteX11" fmla="*/ 1923394 w 2800174"/>
                  <a:gd name="connsiteY11" fmla="*/ 1040525 h 1154036"/>
                  <a:gd name="connsiteX12" fmla="*/ 1248629 w 2800174"/>
                  <a:gd name="connsiteY12" fmla="*/ 479272 h 1154036"/>
                  <a:gd name="connsiteX13" fmla="*/ 706296 w 2800174"/>
                  <a:gd name="connsiteY13" fmla="*/ 163962 h 1154036"/>
                  <a:gd name="connsiteX14" fmla="*/ 668458 w 2800174"/>
                  <a:gd name="connsiteY14" fmla="*/ 145043 h 1154036"/>
                  <a:gd name="connsiteX15" fmla="*/ 548640 w 2800174"/>
                  <a:gd name="connsiteY15" fmla="*/ 145043 h 1154036"/>
                  <a:gd name="connsiteX0" fmla="*/ 296392 w 2188952"/>
                  <a:gd name="connsiteY0" fmla="*/ 0 h 1109892"/>
                  <a:gd name="connsiteX1" fmla="*/ 2055824 w 2188952"/>
                  <a:gd name="connsiteY1" fmla="*/ 88287 h 1109892"/>
                  <a:gd name="connsiteX2" fmla="*/ 2062130 w 2188952"/>
                  <a:gd name="connsiteY2" fmla="*/ 107205 h 1109892"/>
                  <a:gd name="connsiteX3" fmla="*/ 2036905 w 2188952"/>
                  <a:gd name="connsiteY3" fmla="*/ 126124 h 1109892"/>
                  <a:gd name="connsiteX4" fmla="*/ 1967537 w 2188952"/>
                  <a:gd name="connsiteY4" fmla="*/ 195492 h 1109892"/>
                  <a:gd name="connsiteX5" fmla="*/ 1822494 w 2188952"/>
                  <a:gd name="connsiteY5" fmla="*/ 441434 h 1109892"/>
                  <a:gd name="connsiteX6" fmla="*/ 1790963 w 2188952"/>
                  <a:gd name="connsiteY6" fmla="*/ 517109 h 1109892"/>
                  <a:gd name="connsiteX7" fmla="*/ 1690064 w 2188952"/>
                  <a:gd name="connsiteY7" fmla="*/ 800888 h 1109892"/>
                  <a:gd name="connsiteX8" fmla="*/ 1683758 w 2188952"/>
                  <a:gd name="connsiteY8" fmla="*/ 832419 h 1109892"/>
                  <a:gd name="connsiteX9" fmla="*/ 1526103 w 2188952"/>
                  <a:gd name="connsiteY9" fmla="*/ 1084668 h 1109892"/>
                  <a:gd name="connsiteX10" fmla="*/ 1481959 w 2188952"/>
                  <a:gd name="connsiteY10" fmla="*/ 1109892 h 1109892"/>
                  <a:gd name="connsiteX11" fmla="*/ 1374754 w 2188952"/>
                  <a:gd name="connsiteY11" fmla="*/ 996381 h 1109892"/>
                  <a:gd name="connsiteX12" fmla="*/ 699989 w 2188952"/>
                  <a:gd name="connsiteY12" fmla="*/ 435128 h 1109892"/>
                  <a:gd name="connsiteX13" fmla="*/ 157656 w 2188952"/>
                  <a:gd name="connsiteY13" fmla="*/ 119818 h 1109892"/>
                  <a:gd name="connsiteX14" fmla="*/ 119818 w 2188952"/>
                  <a:gd name="connsiteY14" fmla="*/ 100899 h 1109892"/>
                  <a:gd name="connsiteX15" fmla="*/ 0 w 2188952"/>
                  <a:gd name="connsiteY15" fmla="*/ 100899 h 1109892"/>
                  <a:gd name="connsiteX0" fmla="*/ 296392 w 2188952"/>
                  <a:gd name="connsiteY0" fmla="*/ 0 h 1109892"/>
                  <a:gd name="connsiteX1" fmla="*/ 2055824 w 2188952"/>
                  <a:gd name="connsiteY1" fmla="*/ 88287 h 1109892"/>
                  <a:gd name="connsiteX2" fmla="*/ 2062130 w 2188952"/>
                  <a:gd name="connsiteY2" fmla="*/ 107205 h 1109892"/>
                  <a:gd name="connsiteX3" fmla="*/ 2036905 w 2188952"/>
                  <a:gd name="connsiteY3" fmla="*/ 126124 h 1109892"/>
                  <a:gd name="connsiteX4" fmla="*/ 1967537 w 2188952"/>
                  <a:gd name="connsiteY4" fmla="*/ 195492 h 1109892"/>
                  <a:gd name="connsiteX5" fmla="*/ 1822494 w 2188952"/>
                  <a:gd name="connsiteY5" fmla="*/ 441434 h 1109892"/>
                  <a:gd name="connsiteX6" fmla="*/ 1790963 w 2188952"/>
                  <a:gd name="connsiteY6" fmla="*/ 517109 h 1109892"/>
                  <a:gd name="connsiteX7" fmla="*/ 1690064 w 2188952"/>
                  <a:gd name="connsiteY7" fmla="*/ 800888 h 1109892"/>
                  <a:gd name="connsiteX8" fmla="*/ 1683758 w 2188952"/>
                  <a:gd name="connsiteY8" fmla="*/ 832419 h 1109892"/>
                  <a:gd name="connsiteX9" fmla="*/ 1526103 w 2188952"/>
                  <a:gd name="connsiteY9" fmla="*/ 1084668 h 1109892"/>
                  <a:gd name="connsiteX10" fmla="*/ 1481959 w 2188952"/>
                  <a:gd name="connsiteY10" fmla="*/ 1109892 h 1109892"/>
                  <a:gd name="connsiteX11" fmla="*/ 1374754 w 2188952"/>
                  <a:gd name="connsiteY11" fmla="*/ 996381 h 1109892"/>
                  <a:gd name="connsiteX12" fmla="*/ 699989 w 2188952"/>
                  <a:gd name="connsiteY12" fmla="*/ 435128 h 1109892"/>
                  <a:gd name="connsiteX13" fmla="*/ 157656 w 2188952"/>
                  <a:gd name="connsiteY13" fmla="*/ 119818 h 1109892"/>
                  <a:gd name="connsiteX14" fmla="*/ 119818 w 2188952"/>
                  <a:gd name="connsiteY14" fmla="*/ 100899 h 1109892"/>
                  <a:gd name="connsiteX15" fmla="*/ 0 w 2188952"/>
                  <a:gd name="connsiteY15" fmla="*/ 100899 h 1109892"/>
                  <a:gd name="connsiteX0" fmla="*/ 296392 w 2188952"/>
                  <a:gd name="connsiteY0" fmla="*/ 0 h 1116198"/>
                  <a:gd name="connsiteX1" fmla="*/ 2055824 w 2188952"/>
                  <a:gd name="connsiteY1" fmla="*/ 94593 h 1116198"/>
                  <a:gd name="connsiteX2" fmla="*/ 2062130 w 2188952"/>
                  <a:gd name="connsiteY2" fmla="*/ 113511 h 1116198"/>
                  <a:gd name="connsiteX3" fmla="*/ 2036905 w 2188952"/>
                  <a:gd name="connsiteY3" fmla="*/ 132430 h 1116198"/>
                  <a:gd name="connsiteX4" fmla="*/ 1967537 w 2188952"/>
                  <a:gd name="connsiteY4" fmla="*/ 201798 h 1116198"/>
                  <a:gd name="connsiteX5" fmla="*/ 1822494 w 2188952"/>
                  <a:gd name="connsiteY5" fmla="*/ 447740 h 1116198"/>
                  <a:gd name="connsiteX6" fmla="*/ 1790963 w 2188952"/>
                  <a:gd name="connsiteY6" fmla="*/ 523415 h 1116198"/>
                  <a:gd name="connsiteX7" fmla="*/ 1690064 w 2188952"/>
                  <a:gd name="connsiteY7" fmla="*/ 807194 h 1116198"/>
                  <a:gd name="connsiteX8" fmla="*/ 1683758 w 2188952"/>
                  <a:gd name="connsiteY8" fmla="*/ 838725 h 1116198"/>
                  <a:gd name="connsiteX9" fmla="*/ 1526103 w 2188952"/>
                  <a:gd name="connsiteY9" fmla="*/ 1090974 h 1116198"/>
                  <a:gd name="connsiteX10" fmla="*/ 1481959 w 2188952"/>
                  <a:gd name="connsiteY10" fmla="*/ 1116198 h 1116198"/>
                  <a:gd name="connsiteX11" fmla="*/ 1374754 w 2188952"/>
                  <a:gd name="connsiteY11" fmla="*/ 1002687 h 1116198"/>
                  <a:gd name="connsiteX12" fmla="*/ 699989 w 2188952"/>
                  <a:gd name="connsiteY12" fmla="*/ 441434 h 1116198"/>
                  <a:gd name="connsiteX13" fmla="*/ 157656 w 2188952"/>
                  <a:gd name="connsiteY13" fmla="*/ 126124 h 1116198"/>
                  <a:gd name="connsiteX14" fmla="*/ 119818 w 2188952"/>
                  <a:gd name="connsiteY14" fmla="*/ 107205 h 1116198"/>
                  <a:gd name="connsiteX15" fmla="*/ 0 w 2188952"/>
                  <a:gd name="connsiteY15" fmla="*/ 107205 h 1116198"/>
                  <a:gd name="connsiteX0" fmla="*/ 296392 w 2191678"/>
                  <a:gd name="connsiteY0" fmla="*/ 0 h 1116198"/>
                  <a:gd name="connsiteX1" fmla="*/ 2055824 w 2191678"/>
                  <a:gd name="connsiteY1" fmla="*/ 94593 h 1116198"/>
                  <a:gd name="connsiteX2" fmla="*/ 2062130 w 2191678"/>
                  <a:gd name="connsiteY2" fmla="*/ 113511 h 1116198"/>
                  <a:gd name="connsiteX3" fmla="*/ 1967537 w 2191678"/>
                  <a:gd name="connsiteY3" fmla="*/ 201798 h 1116198"/>
                  <a:gd name="connsiteX4" fmla="*/ 1822494 w 2191678"/>
                  <a:gd name="connsiteY4" fmla="*/ 447740 h 1116198"/>
                  <a:gd name="connsiteX5" fmla="*/ 1790963 w 2191678"/>
                  <a:gd name="connsiteY5" fmla="*/ 523415 h 1116198"/>
                  <a:gd name="connsiteX6" fmla="*/ 1690064 w 2191678"/>
                  <a:gd name="connsiteY6" fmla="*/ 807194 h 1116198"/>
                  <a:gd name="connsiteX7" fmla="*/ 1683758 w 2191678"/>
                  <a:gd name="connsiteY7" fmla="*/ 838725 h 1116198"/>
                  <a:gd name="connsiteX8" fmla="*/ 1526103 w 2191678"/>
                  <a:gd name="connsiteY8" fmla="*/ 1090974 h 1116198"/>
                  <a:gd name="connsiteX9" fmla="*/ 1481959 w 2191678"/>
                  <a:gd name="connsiteY9" fmla="*/ 1116198 h 1116198"/>
                  <a:gd name="connsiteX10" fmla="*/ 1374754 w 2191678"/>
                  <a:gd name="connsiteY10" fmla="*/ 1002687 h 1116198"/>
                  <a:gd name="connsiteX11" fmla="*/ 699989 w 2191678"/>
                  <a:gd name="connsiteY11" fmla="*/ 441434 h 1116198"/>
                  <a:gd name="connsiteX12" fmla="*/ 157656 w 2191678"/>
                  <a:gd name="connsiteY12" fmla="*/ 126124 h 1116198"/>
                  <a:gd name="connsiteX13" fmla="*/ 119818 w 2191678"/>
                  <a:gd name="connsiteY13" fmla="*/ 107205 h 1116198"/>
                  <a:gd name="connsiteX14" fmla="*/ 0 w 2191678"/>
                  <a:gd name="connsiteY14" fmla="*/ 107205 h 1116198"/>
                  <a:gd name="connsiteX0" fmla="*/ 296392 w 2166982"/>
                  <a:gd name="connsiteY0" fmla="*/ 0 h 1116198"/>
                  <a:gd name="connsiteX1" fmla="*/ 2055824 w 2166982"/>
                  <a:gd name="connsiteY1" fmla="*/ 94593 h 1116198"/>
                  <a:gd name="connsiteX2" fmla="*/ 1967537 w 2166982"/>
                  <a:gd name="connsiteY2" fmla="*/ 201798 h 1116198"/>
                  <a:gd name="connsiteX3" fmla="*/ 1822494 w 2166982"/>
                  <a:gd name="connsiteY3" fmla="*/ 447740 h 1116198"/>
                  <a:gd name="connsiteX4" fmla="*/ 1790963 w 2166982"/>
                  <a:gd name="connsiteY4" fmla="*/ 523415 h 1116198"/>
                  <a:gd name="connsiteX5" fmla="*/ 1690064 w 2166982"/>
                  <a:gd name="connsiteY5" fmla="*/ 807194 h 1116198"/>
                  <a:gd name="connsiteX6" fmla="*/ 1683758 w 2166982"/>
                  <a:gd name="connsiteY6" fmla="*/ 838725 h 1116198"/>
                  <a:gd name="connsiteX7" fmla="*/ 1526103 w 2166982"/>
                  <a:gd name="connsiteY7" fmla="*/ 1090974 h 1116198"/>
                  <a:gd name="connsiteX8" fmla="*/ 1481959 w 2166982"/>
                  <a:gd name="connsiteY8" fmla="*/ 1116198 h 1116198"/>
                  <a:gd name="connsiteX9" fmla="*/ 1374754 w 2166982"/>
                  <a:gd name="connsiteY9" fmla="*/ 1002687 h 1116198"/>
                  <a:gd name="connsiteX10" fmla="*/ 699989 w 2166982"/>
                  <a:gd name="connsiteY10" fmla="*/ 441434 h 1116198"/>
                  <a:gd name="connsiteX11" fmla="*/ 157656 w 2166982"/>
                  <a:gd name="connsiteY11" fmla="*/ 126124 h 1116198"/>
                  <a:gd name="connsiteX12" fmla="*/ 119818 w 2166982"/>
                  <a:gd name="connsiteY12" fmla="*/ 107205 h 1116198"/>
                  <a:gd name="connsiteX13" fmla="*/ 0 w 2166982"/>
                  <a:gd name="connsiteY13" fmla="*/ 107205 h 1116198"/>
                  <a:gd name="connsiteX0" fmla="*/ 296392 w 2058734"/>
                  <a:gd name="connsiteY0" fmla="*/ 0 h 1116198"/>
                  <a:gd name="connsiteX1" fmla="*/ 1967537 w 2058734"/>
                  <a:gd name="connsiteY1" fmla="*/ 201798 h 1116198"/>
                  <a:gd name="connsiteX2" fmla="*/ 1822494 w 2058734"/>
                  <a:gd name="connsiteY2" fmla="*/ 447740 h 1116198"/>
                  <a:gd name="connsiteX3" fmla="*/ 1790963 w 2058734"/>
                  <a:gd name="connsiteY3" fmla="*/ 523415 h 1116198"/>
                  <a:gd name="connsiteX4" fmla="*/ 1690064 w 2058734"/>
                  <a:gd name="connsiteY4" fmla="*/ 807194 h 1116198"/>
                  <a:gd name="connsiteX5" fmla="*/ 1683758 w 2058734"/>
                  <a:gd name="connsiteY5" fmla="*/ 838725 h 1116198"/>
                  <a:gd name="connsiteX6" fmla="*/ 1526103 w 2058734"/>
                  <a:gd name="connsiteY6" fmla="*/ 1090974 h 1116198"/>
                  <a:gd name="connsiteX7" fmla="*/ 1481959 w 2058734"/>
                  <a:gd name="connsiteY7" fmla="*/ 1116198 h 1116198"/>
                  <a:gd name="connsiteX8" fmla="*/ 1374754 w 2058734"/>
                  <a:gd name="connsiteY8" fmla="*/ 1002687 h 1116198"/>
                  <a:gd name="connsiteX9" fmla="*/ 699989 w 2058734"/>
                  <a:gd name="connsiteY9" fmla="*/ 441434 h 1116198"/>
                  <a:gd name="connsiteX10" fmla="*/ 157656 w 2058734"/>
                  <a:gd name="connsiteY10" fmla="*/ 126124 h 1116198"/>
                  <a:gd name="connsiteX11" fmla="*/ 119818 w 2058734"/>
                  <a:gd name="connsiteY11" fmla="*/ 107205 h 1116198"/>
                  <a:gd name="connsiteX12" fmla="*/ 0 w 2058734"/>
                  <a:gd name="connsiteY12" fmla="*/ 107205 h 1116198"/>
                  <a:gd name="connsiteX0" fmla="*/ 296392 w 2078251"/>
                  <a:gd name="connsiteY0" fmla="*/ 0 h 1116198"/>
                  <a:gd name="connsiteX1" fmla="*/ 1992762 w 2078251"/>
                  <a:gd name="connsiteY1" fmla="*/ 94593 h 1116198"/>
                  <a:gd name="connsiteX2" fmla="*/ 1822494 w 2078251"/>
                  <a:gd name="connsiteY2" fmla="*/ 447740 h 1116198"/>
                  <a:gd name="connsiteX3" fmla="*/ 1790963 w 2078251"/>
                  <a:gd name="connsiteY3" fmla="*/ 523415 h 1116198"/>
                  <a:gd name="connsiteX4" fmla="*/ 1690064 w 2078251"/>
                  <a:gd name="connsiteY4" fmla="*/ 807194 h 1116198"/>
                  <a:gd name="connsiteX5" fmla="*/ 1683758 w 2078251"/>
                  <a:gd name="connsiteY5" fmla="*/ 838725 h 1116198"/>
                  <a:gd name="connsiteX6" fmla="*/ 1526103 w 2078251"/>
                  <a:gd name="connsiteY6" fmla="*/ 1090974 h 1116198"/>
                  <a:gd name="connsiteX7" fmla="*/ 1481959 w 2078251"/>
                  <a:gd name="connsiteY7" fmla="*/ 1116198 h 1116198"/>
                  <a:gd name="connsiteX8" fmla="*/ 1374754 w 2078251"/>
                  <a:gd name="connsiteY8" fmla="*/ 1002687 h 1116198"/>
                  <a:gd name="connsiteX9" fmla="*/ 699989 w 2078251"/>
                  <a:gd name="connsiteY9" fmla="*/ 441434 h 1116198"/>
                  <a:gd name="connsiteX10" fmla="*/ 157656 w 2078251"/>
                  <a:gd name="connsiteY10" fmla="*/ 126124 h 1116198"/>
                  <a:gd name="connsiteX11" fmla="*/ 119818 w 2078251"/>
                  <a:gd name="connsiteY11" fmla="*/ 107205 h 1116198"/>
                  <a:gd name="connsiteX12" fmla="*/ 0 w 2078251"/>
                  <a:gd name="connsiteY12" fmla="*/ 107205 h 1116198"/>
                  <a:gd name="connsiteX0" fmla="*/ 296392 w 2047223"/>
                  <a:gd name="connsiteY0" fmla="*/ 0 h 1116198"/>
                  <a:gd name="connsiteX1" fmla="*/ 1992762 w 2047223"/>
                  <a:gd name="connsiteY1" fmla="*/ 94593 h 1116198"/>
                  <a:gd name="connsiteX2" fmla="*/ 1822494 w 2047223"/>
                  <a:gd name="connsiteY2" fmla="*/ 447740 h 1116198"/>
                  <a:gd name="connsiteX3" fmla="*/ 1790963 w 2047223"/>
                  <a:gd name="connsiteY3" fmla="*/ 523415 h 1116198"/>
                  <a:gd name="connsiteX4" fmla="*/ 1690064 w 2047223"/>
                  <a:gd name="connsiteY4" fmla="*/ 807194 h 1116198"/>
                  <a:gd name="connsiteX5" fmla="*/ 1683758 w 2047223"/>
                  <a:gd name="connsiteY5" fmla="*/ 838725 h 1116198"/>
                  <a:gd name="connsiteX6" fmla="*/ 1526103 w 2047223"/>
                  <a:gd name="connsiteY6" fmla="*/ 1090974 h 1116198"/>
                  <a:gd name="connsiteX7" fmla="*/ 1481959 w 2047223"/>
                  <a:gd name="connsiteY7" fmla="*/ 1116198 h 1116198"/>
                  <a:gd name="connsiteX8" fmla="*/ 1374754 w 2047223"/>
                  <a:gd name="connsiteY8" fmla="*/ 1002687 h 1116198"/>
                  <a:gd name="connsiteX9" fmla="*/ 699989 w 2047223"/>
                  <a:gd name="connsiteY9" fmla="*/ 441434 h 1116198"/>
                  <a:gd name="connsiteX10" fmla="*/ 157656 w 2047223"/>
                  <a:gd name="connsiteY10" fmla="*/ 126124 h 1116198"/>
                  <a:gd name="connsiteX11" fmla="*/ 119818 w 2047223"/>
                  <a:gd name="connsiteY11" fmla="*/ 107205 h 1116198"/>
                  <a:gd name="connsiteX12" fmla="*/ 0 w 2047223"/>
                  <a:gd name="connsiteY12" fmla="*/ 107205 h 1116198"/>
                  <a:gd name="connsiteX0" fmla="*/ 296392 w 2048583"/>
                  <a:gd name="connsiteY0" fmla="*/ 0 h 1116198"/>
                  <a:gd name="connsiteX1" fmla="*/ 1992762 w 2048583"/>
                  <a:gd name="connsiteY1" fmla="*/ 94593 h 1116198"/>
                  <a:gd name="connsiteX2" fmla="*/ 1822494 w 2048583"/>
                  <a:gd name="connsiteY2" fmla="*/ 447740 h 1116198"/>
                  <a:gd name="connsiteX3" fmla="*/ 1790963 w 2048583"/>
                  <a:gd name="connsiteY3" fmla="*/ 523415 h 1116198"/>
                  <a:gd name="connsiteX4" fmla="*/ 1690064 w 2048583"/>
                  <a:gd name="connsiteY4" fmla="*/ 807194 h 1116198"/>
                  <a:gd name="connsiteX5" fmla="*/ 1683758 w 2048583"/>
                  <a:gd name="connsiteY5" fmla="*/ 838725 h 1116198"/>
                  <a:gd name="connsiteX6" fmla="*/ 1526103 w 2048583"/>
                  <a:gd name="connsiteY6" fmla="*/ 1090974 h 1116198"/>
                  <a:gd name="connsiteX7" fmla="*/ 1481959 w 2048583"/>
                  <a:gd name="connsiteY7" fmla="*/ 1116198 h 1116198"/>
                  <a:gd name="connsiteX8" fmla="*/ 1374754 w 2048583"/>
                  <a:gd name="connsiteY8" fmla="*/ 1002687 h 1116198"/>
                  <a:gd name="connsiteX9" fmla="*/ 699989 w 2048583"/>
                  <a:gd name="connsiteY9" fmla="*/ 441434 h 1116198"/>
                  <a:gd name="connsiteX10" fmla="*/ 157656 w 2048583"/>
                  <a:gd name="connsiteY10" fmla="*/ 126124 h 1116198"/>
                  <a:gd name="connsiteX11" fmla="*/ 119818 w 2048583"/>
                  <a:gd name="connsiteY11" fmla="*/ 107205 h 1116198"/>
                  <a:gd name="connsiteX12" fmla="*/ 0 w 2048583"/>
                  <a:gd name="connsiteY12" fmla="*/ 107205 h 1116198"/>
                  <a:gd name="connsiteX0" fmla="*/ 264861 w 2080448"/>
                  <a:gd name="connsiteY0" fmla="*/ 0 h 1097279"/>
                  <a:gd name="connsiteX1" fmla="*/ 1992762 w 2080448"/>
                  <a:gd name="connsiteY1" fmla="*/ 75674 h 1097279"/>
                  <a:gd name="connsiteX2" fmla="*/ 1822494 w 2080448"/>
                  <a:gd name="connsiteY2" fmla="*/ 428821 h 1097279"/>
                  <a:gd name="connsiteX3" fmla="*/ 1790963 w 2080448"/>
                  <a:gd name="connsiteY3" fmla="*/ 504496 h 1097279"/>
                  <a:gd name="connsiteX4" fmla="*/ 1690064 w 2080448"/>
                  <a:gd name="connsiteY4" fmla="*/ 788275 h 1097279"/>
                  <a:gd name="connsiteX5" fmla="*/ 1683758 w 2080448"/>
                  <a:gd name="connsiteY5" fmla="*/ 819806 h 1097279"/>
                  <a:gd name="connsiteX6" fmla="*/ 1526103 w 2080448"/>
                  <a:gd name="connsiteY6" fmla="*/ 1072055 h 1097279"/>
                  <a:gd name="connsiteX7" fmla="*/ 1481959 w 2080448"/>
                  <a:gd name="connsiteY7" fmla="*/ 1097279 h 1097279"/>
                  <a:gd name="connsiteX8" fmla="*/ 1374754 w 2080448"/>
                  <a:gd name="connsiteY8" fmla="*/ 983768 h 1097279"/>
                  <a:gd name="connsiteX9" fmla="*/ 699989 w 2080448"/>
                  <a:gd name="connsiteY9" fmla="*/ 422515 h 1097279"/>
                  <a:gd name="connsiteX10" fmla="*/ 157656 w 2080448"/>
                  <a:gd name="connsiteY10" fmla="*/ 107205 h 1097279"/>
                  <a:gd name="connsiteX11" fmla="*/ 119818 w 2080448"/>
                  <a:gd name="connsiteY11" fmla="*/ 88286 h 1097279"/>
                  <a:gd name="connsiteX12" fmla="*/ 0 w 2080448"/>
                  <a:gd name="connsiteY12" fmla="*/ 88286 h 1097279"/>
                  <a:gd name="connsiteX0" fmla="*/ 264861 w 2080448"/>
                  <a:gd name="connsiteY0" fmla="*/ 9767 h 1107046"/>
                  <a:gd name="connsiteX1" fmla="*/ 1992762 w 2080448"/>
                  <a:gd name="connsiteY1" fmla="*/ 85441 h 1107046"/>
                  <a:gd name="connsiteX2" fmla="*/ 1822494 w 2080448"/>
                  <a:gd name="connsiteY2" fmla="*/ 438588 h 1107046"/>
                  <a:gd name="connsiteX3" fmla="*/ 1790963 w 2080448"/>
                  <a:gd name="connsiteY3" fmla="*/ 514263 h 1107046"/>
                  <a:gd name="connsiteX4" fmla="*/ 1690064 w 2080448"/>
                  <a:gd name="connsiteY4" fmla="*/ 798042 h 1107046"/>
                  <a:gd name="connsiteX5" fmla="*/ 1683758 w 2080448"/>
                  <a:gd name="connsiteY5" fmla="*/ 829573 h 1107046"/>
                  <a:gd name="connsiteX6" fmla="*/ 1526103 w 2080448"/>
                  <a:gd name="connsiteY6" fmla="*/ 1081822 h 1107046"/>
                  <a:gd name="connsiteX7" fmla="*/ 1481959 w 2080448"/>
                  <a:gd name="connsiteY7" fmla="*/ 1107046 h 1107046"/>
                  <a:gd name="connsiteX8" fmla="*/ 1374754 w 2080448"/>
                  <a:gd name="connsiteY8" fmla="*/ 993535 h 1107046"/>
                  <a:gd name="connsiteX9" fmla="*/ 699989 w 2080448"/>
                  <a:gd name="connsiteY9" fmla="*/ 432282 h 1107046"/>
                  <a:gd name="connsiteX10" fmla="*/ 157656 w 2080448"/>
                  <a:gd name="connsiteY10" fmla="*/ 116972 h 1107046"/>
                  <a:gd name="connsiteX11" fmla="*/ 119818 w 2080448"/>
                  <a:gd name="connsiteY11" fmla="*/ 98053 h 1107046"/>
                  <a:gd name="connsiteX12" fmla="*/ 0 w 2080448"/>
                  <a:gd name="connsiteY12" fmla="*/ 98053 h 110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0448" h="1107046">
                    <a:moveTo>
                      <a:pt x="264861" y="9767"/>
                    </a:moveTo>
                    <a:cubicBezTo>
                      <a:pt x="1029226" y="-17561"/>
                      <a:pt x="1733157" y="13971"/>
                      <a:pt x="1992762" y="85441"/>
                    </a:cubicBezTo>
                    <a:cubicBezTo>
                      <a:pt x="2252367" y="156911"/>
                      <a:pt x="1856127" y="367118"/>
                      <a:pt x="1822494" y="438588"/>
                    </a:cubicBezTo>
                    <a:cubicBezTo>
                      <a:pt x="1788861" y="510058"/>
                      <a:pt x="1800410" y="488621"/>
                      <a:pt x="1790963" y="514263"/>
                    </a:cubicBezTo>
                    <a:cubicBezTo>
                      <a:pt x="1756256" y="608467"/>
                      <a:pt x="1722381" y="702991"/>
                      <a:pt x="1690064" y="798042"/>
                    </a:cubicBezTo>
                    <a:cubicBezTo>
                      <a:pt x="1686614" y="808190"/>
                      <a:pt x="1688740" y="820083"/>
                      <a:pt x="1683758" y="829573"/>
                    </a:cubicBezTo>
                    <a:cubicBezTo>
                      <a:pt x="1681024" y="834781"/>
                      <a:pt x="1594615" y="1030439"/>
                      <a:pt x="1526103" y="1081822"/>
                    </a:cubicBezTo>
                    <a:cubicBezTo>
                      <a:pt x="1512545" y="1091990"/>
                      <a:pt x="1496674" y="1098638"/>
                      <a:pt x="1481959" y="1107046"/>
                    </a:cubicBezTo>
                    <a:cubicBezTo>
                      <a:pt x="1446224" y="1069209"/>
                      <a:pt x="1412498" y="1029368"/>
                      <a:pt x="1374754" y="993535"/>
                    </a:cubicBezTo>
                    <a:cubicBezTo>
                      <a:pt x="1114441" y="746402"/>
                      <a:pt x="986349" y="611530"/>
                      <a:pt x="699989" y="432282"/>
                    </a:cubicBezTo>
                    <a:cubicBezTo>
                      <a:pt x="522740" y="321332"/>
                      <a:pt x="344690" y="210489"/>
                      <a:pt x="157656" y="116972"/>
                    </a:cubicBezTo>
                    <a:cubicBezTo>
                      <a:pt x="145043" y="110666"/>
                      <a:pt x="146094" y="101206"/>
                      <a:pt x="119818" y="98053"/>
                    </a:cubicBezTo>
                    <a:cubicBezTo>
                      <a:pt x="93542" y="94900"/>
                      <a:pt x="19517" y="105860"/>
                      <a:pt x="0" y="98053"/>
                    </a:cubicBezTo>
                  </a:path>
                </a:pathLst>
              </a:cu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00"/>
              </a:p>
            </p:txBody>
          </p:sp>
          <p:sp>
            <p:nvSpPr>
              <p:cNvPr id="8" name="Freihandform 7"/>
              <p:cNvSpPr/>
              <p:nvPr/>
            </p:nvSpPr>
            <p:spPr>
              <a:xfrm>
                <a:off x="479271" y="2417761"/>
                <a:ext cx="3512581" cy="3520754"/>
              </a:xfrm>
              <a:custGeom>
                <a:avLst/>
                <a:gdLst>
                  <a:gd name="connsiteX0" fmla="*/ 1021606 w 3558511"/>
                  <a:gd name="connsiteY0" fmla="*/ 290086 h 3323371"/>
                  <a:gd name="connsiteX1" fmla="*/ 1021606 w 3558511"/>
                  <a:gd name="connsiteY1" fmla="*/ 290086 h 3323371"/>
                  <a:gd name="connsiteX2" fmla="*/ 1027912 w 3558511"/>
                  <a:gd name="connsiteY2" fmla="*/ 1027912 h 3323371"/>
                  <a:gd name="connsiteX3" fmla="*/ 1015300 w 3558511"/>
                  <a:gd name="connsiteY3" fmla="*/ 1128811 h 3323371"/>
                  <a:gd name="connsiteX4" fmla="*/ 882869 w 3558511"/>
                  <a:gd name="connsiteY4" fmla="*/ 1696370 h 3323371"/>
                  <a:gd name="connsiteX5" fmla="*/ 618009 w 3558511"/>
                  <a:gd name="connsiteY5" fmla="*/ 2345909 h 3323371"/>
                  <a:gd name="connsiteX6" fmla="*/ 554947 w 3558511"/>
                  <a:gd name="connsiteY6" fmla="*/ 2484646 h 3323371"/>
                  <a:gd name="connsiteX7" fmla="*/ 18919 w 3558511"/>
                  <a:gd name="connsiteY7" fmla="*/ 3241391 h 3323371"/>
                  <a:gd name="connsiteX8" fmla="*/ 0 w 3558511"/>
                  <a:gd name="connsiteY8" fmla="*/ 3254003 h 3323371"/>
                  <a:gd name="connsiteX9" fmla="*/ 176574 w 3558511"/>
                  <a:gd name="connsiteY9" fmla="*/ 3279228 h 3323371"/>
                  <a:gd name="connsiteX10" fmla="*/ 1040524 w 3558511"/>
                  <a:gd name="connsiteY10" fmla="*/ 3310759 h 3323371"/>
                  <a:gd name="connsiteX11" fmla="*/ 2011680 w 3558511"/>
                  <a:gd name="connsiteY11" fmla="*/ 3317065 h 3323371"/>
                  <a:gd name="connsiteX12" fmla="*/ 2787344 w 3558511"/>
                  <a:gd name="connsiteY12" fmla="*/ 3323371 h 3323371"/>
                  <a:gd name="connsiteX13" fmla="*/ 2837793 w 3558511"/>
                  <a:gd name="connsiteY13" fmla="*/ 3317065 h 3323371"/>
                  <a:gd name="connsiteX14" fmla="*/ 2869324 w 3558511"/>
                  <a:gd name="connsiteY14" fmla="*/ 3291840 h 3323371"/>
                  <a:gd name="connsiteX15" fmla="*/ 2976530 w 3558511"/>
                  <a:gd name="connsiteY15" fmla="*/ 3172022 h 3323371"/>
                  <a:gd name="connsiteX16" fmla="*/ 3247697 w 3558511"/>
                  <a:gd name="connsiteY16" fmla="*/ 2635995 h 3323371"/>
                  <a:gd name="connsiteX17" fmla="*/ 3392740 w 3558511"/>
                  <a:gd name="connsiteY17" fmla="*/ 2245010 h 3323371"/>
                  <a:gd name="connsiteX18" fmla="*/ 3499945 w 3558511"/>
                  <a:gd name="connsiteY18" fmla="*/ 1809882 h 3323371"/>
                  <a:gd name="connsiteX19" fmla="*/ 3531476 w 3558511"/>
                  <a:gd name="connsiteY19" fmla="*/ 245942 h 3323371"/>
                  <a:gd name="connsiteX20" fmla="*/ 3499945 w 3558511"/>
                  <a:gd name="connsiteY20" fmla="*/ 94593 h 3323371"/>
                  <a:gd name="connsiteX21" fmla="*/ 3481027 w 3558511"/>
                  <a:gd name="connsiteY21" fmla="*/ 37838 h 3323371"/>
                  <a:gd name="connsiteX22" fmla="*/ 3436883 w 3558511"/>
                  <a:gd name="connsiteY22" fmla="*/ 12613 h 3323371"/>
                  <a:gd name="connsiteX23" fmla="*/ 3354902 w 3558511"/>
                  <a:gd name="connsiteY23" fmla="*/ 0 h 3323371"/>
                  <a:gd name="connsiteX24" fmla="*/ 3235084 w 3558511"/>
                  <a:gd name="connsiteY24" fmla="*/ 6307 h 3323371"/>
                  <a:gd name="connsiteX25" fmla="*/ 3165716 w 3558511"/>
                  <a:gd name="connsiteY25" fmla="*/ 18919 h 3323371"/>
                  <a:gd name="connsiteX26" fmla="*/ 2995449 w 3558511"/>
                  <a:gd name="connsiteY26" fmla="*/ 138737 h 3323371"/>
                  <a:gd name="connsiteX27" fmla="*/ 2888243 w 3558511"/>
                  <a:gd name="connsiteY27" fmla="*/ 245942 h 3323371"/>
                  <a:gd name="connsiteX28" fmla="*/ 2806262 w 3558511"/>
                  <a:gd name="connsiteY28" fmla="*/ 346842 h 3323371"/>
                  <a:gd name="connsiteX29" fmla="*/ 2812569 w 3558511"/>
                  <a:gd name="connsiteY29" fmla="*/ 309004 h 3323371"/>
                  <a:gd name="connsiteX30" fmla="*/ 2799956 w 3558511"/>
                  <a:gd name="connsiteY30" fmla="*/ 163962 h 3323371"/>
                  <a:gd name="connsiteX31" fmla="*/ 2793650 w 3558511"/>
                  <a:gd name="connsiteY31" fmla="*/ 145043 h 3323371"/>
                  <a:gd name="connsiteX32" fmla="*/ 2768425 w 3558511"/>
                  <a:gd name="connsiteY32" fmla="*/ 107206 h 3323371"/>
                  <a:gd name="connsiteX33" fmla="*/ 2717976 w 3558511"/>
                  <a:gd name="connsiteY33" fmla="*/ 56756 h 3323371"/>
                  <a:gd name="connsiteX34" fmla="*/ 2572933 w 3558511"/>
                  <a:gd name="connsiteY34" fmla="*/ 18919 h 3323371"/>
                  <a:gd name="connsiteX35" fmla="*/ 983769 w 3558511"/>
                  <a:gd name="connsiteY35" fmla="*/ 31531 h 3323371"/>
                  <a:gd name="connsiteX36" fmla="*/ 939625 w 3558511"/>
                  <a:gd name="connsiteY36" fmla="*/ 69369 h 3323371"/>
                  <a:gd name="connsiteX37" fmla="*/ 945931 w 3558511"/>
                  <a:gd name="connsiteY37" fmla="*/ 88287 h 3323371"/>
                  <a:gd name="connsiteX38" fmla="*/ 958544 w 3558511"/>
                  <a:gd name="connsiteY38" fmla="*/ 119818 h 3323371"/>
                  <a:gd name="connsiteX39" fmla="*/ 983769 w 3558511"/>
                  <a:gd name="connsiteY39" fmla="*/ 208105 h 3323371"/>
                  <a:gd name="connsiteX40" fmla="*/ 1021606 w 3558511"/>
                  <a:gd name="connsiteY40" fmla="*/ 290086 h 3323371"/>
                  <a:gd name="connsiteX0" fmla="*/ 983769 w 3558511"/>
                  <a:gd name="connsiteY0" fmla="*/ 208105 h 3323371"/>
                  <a:gd name="connsiteX1" fmla="*/ 1021606 w 3558511"/>
                  <a:gd name="connsiteY1" fmla="*/ 290086 h 3323371"/>
                  <a:gd name="connsiteX2" fmla="*/ 1027912 w 3558511"/>
                  <a:gd name="connsiteY2" fmla="*/ 1027912 h 3323371"/>
                  <a:gd name="connsiteX3" fmla="*/ 1015300 w 3558511"/>
                  <a:gd name="connsiteY3" fmla="*/ 1128811 h 3323371"/>
                  <a:gd name="connsiteX4" fmla="*/ 882869 w 3558511"/>
                  <a:gd name="connsiteY4" fmla="*/ 1696370 h 3323371"/>
                  <a:gd name="connsiteX5" fmla="*/ 618009 w 3558511"/>
                  <a:gd name="connsiteY5" fmla="*/ 2345909 h 3323371"/>
                  <a:gd name="connsiteX6" fmla="*/ 554947 w 3558511"/>
                  <a:gd name="connsiteY6" fmla="*/ 2484646 h 3323371"/>
                  <a:gd name="connsiteX7" fmla="*/ 18919 w 3558511"/>
                  <a:gd name="connsiteY7" fmla="*/ 3241391 h 3323371"/>
                  <a:gd name="connsiteX8" fmla="*/ 0 w 3558511"/>
                  <a:gd name="connsiteY8" fmla="*/ 3254003 h 3323371"/>
                  <a:gd name="connsiteX9" fmla="*/ 176574 w 3558511"/>
                  <a:gd name="connsiteY9" fmla="*/ 3279228 h 3323371"/>
                  <a:gd name="connsiteX10" fmla="*/ 1040524 w 3558511"/>
                  <a:gd name="connsiteY10" fmla="*/ 3310759 h 3323371"/>
                  <a:gd name="connsiteX11" fmla="*/ 2011680 w 3558511"/>
                  <a:gd name="connsiteY11" fmla="*/ 3317065 h 3323371"/>
                  <a:gd name="connsiteX12" fmla="*/ 2787344 w 3558511"/>
                  <a:gd name="connsiteY12" fmla="*/ 3323371 h 3323371"/>
                  <a:gd name="connsiteX13" fmla="*/ 2837793 w 3558511"/>
                  <a:gd name="connsiteY13" fmla="*/ 3317065 h 3323371"/>
                  <a:gd name="connsiteX14" fmla="*/ 2869324 w 3558511"/>
                  <a:gd name="connsiteY14" fmla="*/ 3291840 h 3323371"/>
                  <a:gd name="connsiteX15" fmla="*/ 2976530 w 3558511"/>
                  <a:gd name="connsiteY15" fmla="*/ 3172022 h 3323371"/>
                  <a:gd name="connsiteX16" fmla="*/ 3247697 w 3558511"/>
                  <a:gd name="connsiteY16" fmla="*/ 2635995 h 3323371"/>
                  <a:gd name="connsiteX17" fmla="*/ 3392740 w 3558511"/>
                  <a:gd name="connsiteY17" fmla="*/ 2245010 h 3323371"/>
                  <a:gd name="connsiteX18" fmla="*/ 3499945 w 3558511"/>
                  <a:gd name="connsiteY18" fmla="*/ 1809882 h 3323371"/>
                  <a:gd name="connsiteX19" fmla="*/ 3531476 w 3558511"/>
                  <a:gd name="connsiteY19" fmla="*/ 245942 h 3323371"/>
                  <a:gd name="connsiteX20" fmla="*/ 3499945 w 3558511"/>
                  <a:gd name="connsiteY20" fmla="*/ 94593 h 3323371"/>
                  <a:gd name="connsiteX21" fmla="*/ 3481027 w 3558511"/>
                  <a:gd name="connsiteY21" fmla="*/ 37838 h 3323371"/>
                  <a:gd name="connsiteX22" fmla="*/ 3436883 w 3558511"/>
                  <a:gd name="connsiteY22" fmla="*/ 12613 h 3323371"/>
                  <a:gd name="connsiteX23" fmla="*/ 3354902 w 3558511"/>
                  <a:gd name="connsiteY23" fmla="*/ 0 h 3323371"/>
                  <a:gd name="connsiteX24" fmla="*/ 3235084 w 3558511"/>
                  <a:gd name="connsiteY24" fmla="*/ 6307 h 3323371"/>
                  <a:gd name="connsiteX25" fmla="*/ 3165716 w 3558511"/>
                  <a:gd name="connsiteY25" fmla="*/ 18919 h 3323371"/>
                  <a:gd name="connsiteX26" fmla="*/ 2995449 w 3558511"/>
                  <a:gd name="connsiteY26" fmla="*/ 138737 h 3323371"/>
                  <a:gd name="connsiteX27" fmla="*/ 2888243 w 3558511"/>
                  <a:gd name="connsiteY27" fmla="*/ 245942 h 3323371"/>
                  <a:gd name="connsiteX28" fmla="*/ 2806262 w 3558511"/>
                  <a:gd name="connsiteY28" fmla="*/ 346842 h 3323371"/>
                  <a:gd name="connsiteX29" fmla="*/ 2812569 w 3558511"/>
                  <a:gd name="connsiteY29" fmla="*/ 309004 h 3323371"/>
                  <a:gd name="connsiteX30" fmla="*/ 2799956 w 3558511"/>
                  <a:gd name="connsiteY30" fmla="*/ 163962 h 3323371"/>
                  <a:gd name="connsiteX31" fmla="*/ 2793650 w 3558511"/>
                  <a:gd name="connsiteY31" fmla="*/ 145043 h 3323371"/>
                  <a:gd name="connsiteX32" fmla="*/ 2768425 w 3558511"/>
                  <a:gd name="connsiteY32" fmla="*/ 107206 h 3323371"/>
                  <a:gd name="connsiteX33" fmla="*/ 2717976 w 3558511"/>
                  <a:gd name="connsiteY33" fmla="*/ 56756 h 3323371"/>
                  <a:gd name="connsiteX34" fmla="*/ 2572933 w 3558511"/>
                  <a:gd name="connsiteY34" fmla="*/ 18919 h 3323371"/>
                  <a:gd name="connsiteX35" fmla="*/ 983769 w 3558511"/>
                  <a:gd name="connsiteY35" fmla="*/ 31531 h 3323371"/>
                  <a:gd name="connsiteX36" fmla="*/ 939625 w 3558511"/>
                  <a:gd name="connsiteY36" fmla="*/ 69369 h 3323371"/>
                  <a:gd name="connsiteX37" fmla="*/ 945931 w 3558511"/>
                  <a:gd name="connsiteY37" fmla="*/ 88287 h 3323371"/>
                  <a:gd name="connsiteX38" fmla="*/ 958544 w 3558511"/>
                  <a:gd name="connsiteY38" fmla="*/ 119818 h 3323371"/>
                  <a:gd name="connsiteX39" fmla="*/ 983769 w 3558511"/>
                  <a:gd name="connsiteY39" fmla="*/ 208105 h 3323371"/>
                  <a:gd name="connsiteX0" fmla="*/ 983769 w 3558511"/>
                  <a:gd name="connsiteY0" fmla="*/ 208105 h 3323371"/>
                  <a:gd name="connsiteX1" fmla="*/ 1027912 w 3558511"/>
                  <a:gd name="connsiteY1" fmla="*/ 1027912 h 3323371"/>
                  <a:gd name="connsiteX2" fmla="*/ 1015300 w 3558511"/>
                  <a:gd name="connsiteY2" fmla="*/ 1128811 h 3323371"/>
                  <a:gd name="connsiteX3" fmla="*/ 882869 w 3558511"/>
                  <a:gd name="connsiteY3" fmla="*/ 1696370 h 3323371"/>
                  <a:gd name="connsiteX4" fmla="*/ 618009 w 3558511"/>
                  <a:gd name="connsiteY4" fmla="*/ 2345909 h 3323371"/>
                  <a:gd name="connsiteX5" fmla="*/ 554947 w 3558511"/>
                  <a:gd name="connsiteY5" fmla="*/ 2484646 h 3323371"/>
                  <a:gd name="connsiteX6" fmla="*/ 18919 w 3558511"/>
                  <a:gd name="connsiteY6" fmla="*/ 3241391 h 3323371"/>
                  <a:gd name="connsiteX7" fmla="*/ 0 w 3558511"/>
                  <a:gd name="connsiteY7" fmla="*/ 3254003 h 3323371"/>
                  <a:gd name="connsiteX8" fmla="*/ 176574 w 3558511"/>
                  <a:gd name="connsiteY8" fmla="*/ 3279228 h 3323371"/>
                  <a:gd name="connsiteX9" fmla="*/ 1040524 w 3558511"/>
                  <a:gd name="connsiteY9" fmla="*/ 3310759 h 3323371"/>
                  <a:gd name="connsiteX10" fmla="*/ 2011680 w 3558511"/>
                  <a:gd name="connsiteY10" fmla="*/ 3317065 h 3323371"/>
                  <a:gd name="connsiteX11" fmla="*/ 2787344 w 3558511"/>
                  <a:gd name="connsiteY11" fmla="*/ 3323371 h 3323371"/>
                  <a:gd name="connsiteX12" fmla="*/ 2837793 w 3558511"/>
                  <a:gd name="connsiteY12" fmla="*/ 3317065 h 3323371"/>
                  <a:gd name="connsiteX13" fmla="*/ 2869324 w 3558511"/>
                  <a:gd name="connsiteY13" fmla="*/ 3291840 h 3323371"/>
                  <a:gd name="connsiteX14" fmla="*/ 2976530 w 3558511"/>
                  <a:gd name="connsiteY14" fmla="*/ 3172022 h 3323371"/>
                  <a:gd name="connsiteX15" fmla="*/ 3247697 w 3558511"/>
                  <a:gd name="connsiteY15" fmla="*/ 2635995 h 3323371"/>
                  <a:gd name="connsiteX16" fmla="*/ 3392740 w 3558511"/>
                  <a:gd name="connsiteY16" fmla="*/ 2245010 h 3323371"/>
                  <a:gd name="connsiteX17" fmla="*/ 3499945 w 3558511"/>
                  <a:gd name="connsiteY17" fmla="*/ 1809882 h 3323371"/>
                  <a:gd name="connsiteX18" fmla="*/ 3531476 w 3558511"/>
                  <a:gd name="connsiteY18" fmla="*/ 245942 h 3323371"/>
                  <a:gd name="connsiteX19" fmla="*/ 3499945 w 3558511"/>
                  <a:gd name="connsiteY19" fmla="*/ 94593 h 3323371"/>
                  <a:gd name="connsiteX20" fmla="*/ 3481027 w 3558511"/>
                  <a:gd name="connsiteY20" fmla="*/ 37838 h 3323371"/>
                  <a:gd name="connsiteX21" fmla="*/ 3436883 w 3558511"/>
                  <a:gd name="connsiteY21" fmla="*/ 12613 h 3323371"/>
                  <a:gd name="connsiteX22" fmla="*/ 3354902 w 3558511"/>
                  <a:gd name="connsiteY22" fmla="*/ 0 h 3323371"/>
                  <a:gd name="connsiteX23" fmla="*/ 3235084 w 3558511"/>
                  <a:gd name="connsiteY23" fmla="*/ 6307 h 3323371"/>
                  <a:gd name="connsiteX24" fmla="*/ 3165716 w 3558511"/>
                  <a:gd name="connsiteY24" fmla="*/ 18919 h 3323371"/>
                  <a:gd name="connsiteX25" fmla="*/ 2995449 w 3558511"/>
                  <a:gd name="connsiteY25" fmla="*/ 138737 h 3323371"/>
                  <a:gd name="connsiteX26" fmla="*/ 2888243 w 3558511"/>
                  <a:gd name="connsiteY26" fmla="*/ 245942 h 3323371"/>
                  <a:gd name="connsiteX27" fmla="*/ 2806262 w 3558511"/>
                  <a:gd name="connsiteY27" fmla="*/ 346842 h 3323371"/>
                  <a:gd name="connsiteX28" fmla="*/ 2812569 w 3558511"/>
                  <a:gd name="connsiteY28" fmla="*/ 309004 h 3323371"/>
                  <a:gd name="connsiteX29" fmla="*/ 2799956 w 3558511"/>
                  <a:gd name="connsiteY29" fmla="*/ 163962 h 3323371"/>
                  <a:gd name="connsiteX30" fmla="*/ 2793650 w 3558511"/>
                  <a:gd name="connsiteY30" fmla="*/ 145043 h 3323371"/>
                  <a:gd name="connsiteX31" fmla="*/ 2768425 w 3558511"/>
                  <a:gd name="connsiteY31" fmla="*/ 107206 h 3323371"/>
                  <a:gd name="connsiteX32" fmla="*/ 2717976 w 3558511"/>
                  <a:gd name="connsiteY32" fmla="*/ 56756 h 3323371"/>
                  <a:gd name="connsiteX33" fmla="*/ 2572933 w 3558511"/>
                  <a:gd name="connsiteY33" fmla="*/ 18919 h 3323371"/>
                  <a:gd name="connsiteX34" fmla="*/ 983769 w 3558511"/>
                  <a:gd name="connsiteY34" fmla="*/ 31531 h 3323371"/>
                  <a:gd name="connsiteX35" fmla="*/ 939625 w 3558511"/>
                  <a:gd name="connsiteY35" fmla="*/ 69369 h 3323371"/>
                  <a:gd name="connsiteX36" fmla="*/ 945931 w 3558511"/>
                  <a:gd name="connsiteY36" fmla="*/ 88287 h 3323371"/>
                  <a:gd name="connsiteX37" fmla="*/ 958544 w 3558511"/>
                  <a:gd name="connsiteY37" fmla="*/ 119818 h 3323371"/>
                  <a:gd name="connsiteX38" fmla="*/ 983769 w 3558511"/>
                  <a:gd name="connsiteY38" fmla="*/ 208105 h 3323371"/>
                  <a:gd name="connsiteX0" fmla="*/ 958544 w 3558511"/>
                  <a:gd name="connsiteY0" fmla="*/ 119818 h 3323371"/>
                  <a:gd name="connsiteX1" fmla="*/ 1027912 w 3558511"/>
                  <a:gd name="connsiteY1" fmla="*/ 1027912 h 3323371"/>
                  <a:gd name="connsiteX2" fmla="*/ 1015300 w 3558511"/>
                  <a:gd name="connsiteY2" fmla="*/ 1128811 h 3323371"/>
                  <a:gd name="connsiteX3" fmla="*/ 882869 w 3558511"/>
                  <a:gd name="connsiteY3" fmla="*/ 1696370 h 3323371"/>
                  <a:gd name="connsiteX4" fmla="*/ 618009 w 3558511"/>
                  <a:gd name="connsiteY4" fmla="*/ 2345909 h 3323371"/>
                  <a:gd name="connsiteX5" fmla="*/ 554947 w 3558511"/>
                  <a:gd name="connsiteY5" fmla="*/ 2484646 h 3323371"/>
                  <a:gd name="connsiteX6" fmla="*/ 18919 w 3558511"/>
                  <a:gd name="connsiteY6" fmla="*/ 3241391 h 3323371"/>
                  <a:gd name="connsiteX7" fmla="*/ 0 w 3558511"/>
                  <a:gd name="connsiteY7" fmla="*/ 3254003 h 3323371"/>
                  <a:gd name="connsiteX8" fmla="*/ 176574 w 3558511"/>
                  <a:gd name="connsiteY8" fmla="*/ 3279228 h 3323371"/>
                  <a:gd name="connsiteX9" fmla="*/ 1040524 w 3558511"/>
                  <a:gd name="connsiteY9" fmla="*/ 3310759 h 3323371"/>
                  <a:gd name="connsiteX10" fmla="*/ 2011680 w 3558511"/>
                  <a:gd name="connsiteY10" fmla="*/ 3317065 h 3323371"/>
                  <a:gd name="connsiteX11" fmla="*/ 2787344 w 3558511"/>
                  <a:gd name="connsiteY11" fmla="*/ 3323371 h 3323371"/>
                  <a:gd name="connsiteX12" fmla="*/ 2837793 w 3558511"/>
                  <a:gd name="connsiteY12" fmla="*/ 3317065 h 3323371"/>
                  <a:gd name="connsiteX13" fmla="*/ 2869324 w 3558511"/>
                  <a:gd name="connsiteY13" fmla="*/ 3291840 h 3323371"/>
                  <a:gd name="connsiteX14" fmla="*/ 2976530 w 3558511"/>
                  <a:gd name="connsiteY14" fmla="*/ 3172022 h 3323371"/>
                  <a:gd name="connsiteX15" fmla="*/ 3247697 w 3558511"/>
                  <a:gd name="connsiteY15" fmla="*/ 2635995 h 3323371"/>
                  <a:gd name="connsiteX16" fmla="*/ 3392740 w 3558511"/>
                  <a:gd name="connsiteY16" fmla="*/ 2245010 h 3323371"/>
                  <a:gd name="connsiteX17" fmla="*/ 3499945 w 3558511"/>
                  <a:gd name="connsiteY17" fmla="*/ 1809882 h 3323371"/>
                  <a:gd name="connsiteX18" fmla="*/ 3531476 w 3558511"/>
                  <a:gd name="connsiteY18" fmla="*/ 245942 h 3323371"/>
                  <a:gd name="connsiteX19" fmla="*/ 3499945 w 3558511"/>
                  <a:gd name="connsiteY19" fmla="*/ 94593 h 3323371"/>
                  <a:gd name="connsiteX20" fmla="*/ 3481027 w 3558511"/>
                  <a:gd name="connsiteY20" fmla="*/ 37838 h 3323371"/>
                  <a:gd name="connsiteX21" fmla="*/ 3436883 w 3558511"/>
                  <a:gd name="connsiteY21" fmla="*/ 12613 h 3323371"/>
                  <a:gd name="connsiteX22" fmla="*/ 3354902 w 3558511"/>
                  <a:gd name="connsiteY22" fmla="*/ 0 h 3323371"/>
                  <a:gd name="connsiteX23" fmla="*/ 3235084 w 3558511"/>
                  <a:gd name="connsiteY23" fmla="*/ 6307 h 3323371"/>
                  <a:gd name="connsiteX24" fmla="*/ 3165716 w 3558511"/>
                  <a:gd name="connsiteY24" fmla="*/ 18919 h 3323371"/>
                  <a:gd name="connsiteX25" fmla="*/ 2995449 w 3558511"/>
                  <a:gd name="connsiteY25" fmla="*/ 138737 h 3323371"/>
                  <a:gd name="connsiteX26" fmla="*/ 2888243 w 3558511"/>
                  <a:gd name="connsiteY26" fmla="*/ 245942 h 3323371"/>
                  <a:gd name="connsiteX27" fmla="*/ 2806262 w 3558511"/>
                  <a:gd name="connsiteY27" fmla="*/ 346842 h 3323371"/>
                  <a:gd name="connsiteX28" fmla="*/ 2812569 w 3558511"/>
                  <a:gd name="connsiteY28" fmla="*/ 309004 h 3323371"/>
                  <a:gd name="connsiteX29" fmla="*/ 2799956 w 3558511"/>
                  <a:gd name="connsiteY29" fmla="*/ 163962 h 3323371"/>
                  <a:gd name="connsiteX30" fmla="*/ 2793650 w 3558511"/>
                  <a:gd name="connsiteY30" fmla="*/ 145043 h 3323371"/>
                  <a:gd name="connsiteX31" fmla="*/ 2768425 w 3558511"/>
                  <a:gd name="connsiteY31" fmla="*/ 107206 h 3323371"/>
                  <a:gd name="connsiteX32" fmla="*/ 2717976 w 3558511"/>
                  <a:gd name="connsiteY32" fmla="*/ 56756 h 3323371"/>
                  <a:gd name="connsiteX33" fmla="*/ 2572933 w 3558511"/>
                  <a:gd name="connsiteY33" fmla="*/ 18919 h 3323371"/>
                  <a:gd name="connsiteX34" fmla="*/ 983769 w 3558511"/>
                  <a:gd name="connsiteY34" fmla="*/ 31531 h 3323371"/>
                  <a:gd name="connsiteX35" fmla="*/ 939625 w 3558511"/>
                  <a:gd name="connsiteY35" fmla="*/ 69369 h 3323371"/>
                  <a:gd name="connsiteX36" fmla="*/ 945931 w 3558511"/>
                  <a:gd name="connsiteY36" fmla="*/ 88287 h 3323371"/>
                  <a:gd name="connsiteX37" fmla="*/ 958544 w 3558511"/>
                  <a:gd name="connsiteY37" fmla="*/ 119818 h 3323371"/>
                  <a:gd name="connsiteX0" fmla="*/ 958544 w 3558511"/>
                  <a:gd name="connsiteY0" fmla="*/ 119818 h 3323371"/>
                  <a:gd name="connsiteX1" fmla="*/ 1015300 w 3558511"/>
                  <a:gd name="connsiteY1" fmla="*/ 1128811 h 3323371"/>
                  <a:gd name="connsiteX2" fmla="*/ 882869 w 3558511"/>
                  <a:gd name="connsiteY2" fmla="*/ 1696370 h 3323371"/>
                  <a:gd name="connsiteX3" fmla="*/ 618009 w 3558511"/>
                  <a:gd name="connsiteY3" fmla="*/ 2345909 h 3323371"/>
                  <a:gd name="connsiteX4" fmla="*/ 554947 w 3558511"/>
                  <a:gd name="connsiteY4" fmla="*/ 2484646 h 3323371"/>
                  <a:gd name="connsiteX5" fmla="*/ 18919 w 3558511"/>
                  <a:gd name="connsiteY5" fmla="*/ 3241391 h 3323371"/>
                  <a:gd name="connsiteX6" fmla="*/ 0 w 3558511"/>
                  <a:gd name="connsiteY6" fmla="*/ 3254003 h 3323371"/>
                  <a:gd name="connsiteX7" fmla="*/ 176574 w 3558511"/>
                  <a:gd name="connsiteY7" fmla="*/ 3279228 h 3323371"/>
                  <a:gd name="connsiteX8" fmla="*/ 1040524 w 3558511"/>
                  <a:gd name="connsiteY8" fmla="*/ 3310759 h 3323371"/>
                  <a:gd name="connsiteX9" fmla="*/ 2011680 w 3558511"/>
                  <a:gd name="connsiteY9" fmla="*/ 3317065 h 3323371"/>
                  <a:gd name="connsiteX10" fmla="*/ 2787344 w 3558511"/>
                  <a:gd name="connsiteY10" fmla="*/ 3323371 h 3323371"/>
                  <a:gd name="connsiteX11" fmla="*/ 2837793 w 3558511"/>
                  <a:gd name="connsiteY11" fmla="*/ 3317065 h 3323371"/>
                  <a:gd name="connsiteX12" fmla="*/ 2869324 w 3558511"/>
                  <a:gd name="connsiteY12" fmla="*/ 3291840 h 3323371"/>
                  <a:gd name="connsiteX13" fmla="*/ 2976530 w 3558511"/>
                  <a:gd name="connsiteY13" fmla="*/ 3172022 h 3323371"/>
                  <a:gd name="connsiteX14" fmla="*/ 3247697 w 3558511"/>
                  <a:gd name="connsiteY14" fmla="*/ 2635995 h 3323371"/>
                  <a:gd name="connsiteX15" fmla="*/ 3392740 w 3558511"/>
                  <a:gd name="connsiteY15" fmla="*/ 2245010 h 3323371"/>
                  <a:gd name="connsiteX16" fmla="*/ 3499945 w 3558511"/>
                  <a:gd name="connsiteY16" fmla="*/ 1809882 h 3323371"/>
                  <a:gd name="connsiteX17" fmla="*/ 3531476 w 3558511"/>
                  <a:gd name="connsiteY17" fmla="*/ 245942 h 3323371"/>
                  <a:gd name="connsiteX18" fmla="*/ 3499945 w 3558511"/>
                  <a:gd name="connsiteY18" fmla="*/ 94593 h 3323371"/>
                  <a:gd name="connsiteX19" fmla="*/ 3481027 w 3558511"/>
                  <a:gd name="connsiteY19" fmla="*/ 37838 h 3323371"/>
                  <a:gd name="connsiteX20" fmla="*/ 3436883 w 3558511"/>
                  <a:gd name="connsiteY20" fmla="*/ 12613 h 3323371"/>
                  <a:gd name="connsiteX21" fmla="*/ 3354902 w 3558511"/>
                  <a:gd name="connsiteY21" fmla="*/ 0 h 3323371"/>
                  <a:gd name="connsiteX22" fmla="*/ 3235084 w 3558511"/>
                  <a:gd name="connsiteY22" fmla="*/ 6307 h 3323371"/>
                  <a:gd name="connsiteX23" fmla="*/ 3165716 w 3558511"/>
                  <a:gd name="connsiteY23" fmla="*/ 18919 h 3323371"/>
                  <a:gd name="connsiteX24" fmla="*/ 2995449 w 3558511"/>
                  <a:gd name="connsiteY24" fmla="*/ 138737 h 3323371"/>
                  <a:gd name="connsiteX25" fmla="*/ 2888243 w 3558511"/>
                  <a:gd name="connsiteY25" fmla="*/ 245942 h 3323371"/>
                  <a:gd name="connsiteX26" fmla="*/ 2806262 w 3558511"/>
                  <a:gd name="connsiteY26" fmla="*/ 346842 h 3323371"/>
                  <a:gd name="connsiteX27" fmla="*/ 2812569 w 3558511"/>
                  <a:gd name="connsiteY27" fmla="*/ 309004 h 3323371"/>
                  <a:gd name="connsiteX28" fmla="*/ 2799956 w 3558511"/>
                  <a:gd name="connsiteY28" fmla="*/ 163962 h 3323371"/>
                  <a:gd name="connsiteX29" fmla="*/ 2793650 w 3558511"/>
                  <a:gd name="connsiteY29" fmla="*/ 145043 h 3323371"/>
                  <a:gd name="connsiteX30" fmla="*/ 2768425 w 3558511"/>
                  <a:gd name="connsiteY30" fmla="*/ 107206 h 3323371"/>
                  <a:gd name="connsiteX31" fmla="*/ 2717976 w 3558511"/>
                  <a:gd name="connsiteY31" fmla="*/ 56756 h 3323371"/>
                  <a:gd name="connsiteX32" fmla="*/ 2572933 w 3558511"/>
                  <a:gd name="connsiteY32" fmla="*/ 18919 h 3323371"/>
                  <a:gd name="connsiteX33" fmla="*/ 983769 w 3558511"/>
                  <a:gd name="connsiteY33" fmla="*/ 31531 h 3323371"/>
                  <a:gd name="connsiteX34" fmla="*/ 939625 w 3558511"/>
                  <a:gd name="connsiteY34" fmla="*/ 69369 h 3323371"/>
                  <a:gd name="connsiteX35" fmla="*/ 945931 w 3558511"/>
                  <a:gd name="connsiteY35" fmla="*/ 88287 h 3323371"/>
                  <a:gd name="connsiteX36" fmla="*/ 958544 w 3558511"/>
                  <a:gd name="connsiteY36" fmla="*/ 119818 h 3323371"/>
                  <a:gd name="connsiteX0" fmla="*/ 958544 w 3558511"/>
                  <a:gd name="connsiteY0" fmla="*/ 119818 h 3323371"/>
                  <a:gd name="connsiteX1" fmla="*/ 882869 w 3558511"/>
                  <a:gd name="connsiteY1" fmla="*/ 1696370 h 3323371"/>
                  <a:gd name="connsiteX2" fmla="*/ 618009 w 3558511"/>
                  <a:gd name="connsiteY2" fmla="*/ 2345909 h 3323371"/>
                  <a:gd name="connsiteX3" fmla="*/ 554947 w 3558511"/>
                  <a:gd name="connsiteY3" fmla="*/ 2484646 h 3323371"/>
                  <a:gd name="connsiteX4" fmla="*/ 18919 w 3558511"/>
                  <a:gd name="connsiteY4" fmla="*/ 3241391 h 3323371"/>
                  <a:gd name="connsiteX5" fmla="*/ 0 w 3558511"/>
                  <a:gd name="connsiteY5" fmla="*/ 3254003 h 3323371"/>
                  <a:gd name="connsiteX6" fmla="*/ 176574 w 3558511"/>
                  <a:gd name="connsiteY6" fmla="*/ 3279228 h 3323371"/>
                  <a:gd name="connsiteX7" fmla="*/ 1040524 w 3558511"/>
                  <a:gd name="connsiteY7" fmla="*/ 3310759 h 3323371"/>
                  <a:gd name="connsiteX8" fmla="*/ 2011680 w 3558511"/>
                  <a:gd name="connsiteY8" fmla="*/ 3317065 h 3323371"/>
                  <a:gd name="connsiteX9" fmla="*/ 2787344 w 3558511"/>
                  <a:gd name="connsiteY9" fmla="*/ 3323371 h 3323371"/>
                  <a:gd name="connsiteX10" fmla="*/ 2837793 w 3558511"/>
                  <a:gd name="connsiteY10" fmla="*/ 3317065 h 3323371"/>
                  <a:gd name="connsiteX11" fmla="*/ 2869324 w 3558511"/>
                  <a:gd name="connsiteY11" fmla="*/ 3291840 h 3323371"/>
                  <a:gd name="connsiteX12" fmla="*/ 2976530 w 3558511"/>
                  <a:gd name="connsiteY12" fmla="*/ 3172022 h 3323371"/>
                  <a:gd name="connsiteX13" fmla="*/ 3247697 w 3558511"/>
                  <a:gd name="connsiteY13" fmla="*/ 2635995 h 3323371"/>
                  <a:gd name="connsiteX14" fmla="*/ 3392740 w 3558511"/>
                  <a:gd name="connsiteY14" fmla="*/ 2245010 h 3323371"/>
                  <a:gd name="connsiteX15" fmla="*/ 3499945 w 3558511"/>
                  <a:gd name="connsiteY15" fmla="*/ 1809882 h 3323371"/>
                  <a:gd name="connsiteX16" fmla="*/ 3531476 w 3558511"/>
                  <a:gd name="connsiteY16" fmla="*/ 245942 h 3323371"/>
                  <a:gd name="connsiteX17" fmla="*/ 3499945 w 3558511"/>
                  <a:gd name="connsiteY17" fmla="*/ 94593 h 3323371"/>
                  <a:gd name="connsiteX18" fmla="*/ 3481027 w 3558511"/>
                  <a:gd name="connsiteY18" fmla="*/ 37838 h 3323371"/>
                  <a:gd name="connsiteX19" fmla="*/ 3436883 w 3558511"/>
                  <a:gd name="connsiteY19" fmla="*/ 12613 h 3323371"/>
                  <a:gd name="connsiteX20" fmla="*/ 3354902 w 3558511"/>
                  <a:gd name="connsiteY20" fmla="*/ 0 h 3323371"/>
                  <a:gd name="connsiteX21" fmla="*/ 3235084 w 3558511"/>
                  <a:gd name="connsiteY21" fmla="*/ 6307 h 3323371"/>
                  <a:gd name="connsiteX22" fmla="*/ 3165716 w 3558511"/>
                  <a:gd name="connsiteY22" fmla="*/ 18919 h 3323371"/>
                  <a:gd name="connsiteX23" fmla="*/ 2995449 w 3558511"/>
                  <a:gd name="connsiteY23" fmla="*/ 138737 h 3323371"/>
                  <a:gd name="connsiteX24" fmla="*/ 2888243 w 3558511"/>
                  <a:gd name="connsiteY24" fmla="*/ 245942 h 3323371"/>
                  <a:gd name="connsiteX25" fmla="*/ 2806262 w 3558511"/>
                  <a:gd name="connsiteY25" fmla="*/ 346842 h 3323371"/>
                  <a:gd name="connsiteX26" fmla="*/ 2812569 w 3558511"/>
                  <a:gd name="connsiteY26" fmla="*/ 309004 h 3323371"/>
                  <a:gd name="connsiteX27" fmla="*/ 2799956 w 3558511"/>
                  <a:gd name="connsiteY27" fmla="*/ 163962 h 3323371"/>
                  <a:gd name="connsiteX28" fmla="*/ 2793650 w 3558511"/>
                  <a:gd name="connsiteY28" fmla="*/ 145043 h 3323371"/>
                  <a:gd name="connsiteX29" fmla="*/ 2768425 w 3558511"/>
                  <a:gd name="connsiteY29" fmla="*/ 107206 h 3323371"/>
                  <a:gd name="connsiteX30" fmla="*/ 2717976 w 3558511"/>
                  <a:gd name="connsiteY30" fmla="*/ 56756 h 3323371"/>
                  <a:gd name="connsiteX31" fmla="*/ 2572933 w 3558511"/>
                  <a:gd name="connsiteY31" fmla="*/ 18919 h 3323371"/>
                  <a:gd name="connsiteX32" fmla="*/ 983769 w 3558511"/>
                  <a:gd name="connsiteY32" fmla="*/ 31531 h 3323371"/>
                  <a:gd name="connsiteX33" fmla="*/ 939625 w 3558511"/>
                  <a:gd name="connsiteY33" fmla="*/ 69369 h 3323371"/>
                  <a:gd name="connsiteX34" fmla="*/ 945931 w 3558511"/>
                  <a:gd name="connsiteY34" fmla="*/ 88287 h 3323371"/>
                  <a:gd name="connsiteX35" fmla="*/ 958544 w 3558511"/>
                  <a:gd name="connsiteY35" fmla="*/ 119818 h 3323371"/>
                  <a:gd name="connsiteX0" fmla="*/ 958544 w 3558511"/>
                  <a:gd name="connsiteY0" fmla="*/ 119818 h 3323371"/>
                  <a:gd name="connsiteX1" fmla="*/ 882869 w 3558511"/>
                  <a:gd name="connsiteY1" fmla="*/ 1696370 h 3323371"/>
                  <a:gd name="connsiteX2" fmla="*/ 554947 w 3558511"/>
                  <a:gd name="connsiteY2" fmla="*/ 2484646 h 3323371"/>
                  <a:gd name="connsiteX3" fmla="*/ 18919 w 3558511"/>
                  <a:gd name="connsiteY3" fmla="*/ 3241391 h 3323371"/>
                  <a:gd name="connsiteX4" fmla="*/ 0 w 3558511"/>
                  <a:gd name="connsiteY4" fmla="*/ 3254003 h 3323371"/>
                  <a:gd name="connsiteX5" fmla="*/ 176574 w 3558511"/>
                  <a:gd name="connsiteY5" fmla="*/ 3279228 h 3323371"/>
                  <a:gd name="connsiteX6" fmla="*/ 1040524 w 3558511"/>
                  <a:gd name="connsiteY6" fmla="*/ 3310759 h 3323371"/>
                  <a:gd name="connsiteX7" fmla="*/ 2011680 w 3558511"/>
                  <a:gd name="connsiteY7" fmla="*/ 3317065 h 3323371"/>
                  <a:gd name="connsiteX8" fmla="*/ 2787344 w 3558511"/>
                  <a:gd name="connsiteY8" fmla="*/ 3323371 h 3323371"/>
                  <a:gd name="connsiteX9" fmla="*/ 2837793 w 3558511"/>
                  <a:gd name="connsiteY9" fmla="*/ 3317065 h 3323371"/>
                  <a:gd name="connsiteX10" fmla="*/ 2869324 w 3558511"/>
                  <a:gd name="connsiteY10" fmla="*/ 3291840 h 3323371"/>
                  <a:gd name="connsiteX11" fmla="*/ 2976530 w 3558511"/>
                  <a:gd name="connsiteY11" fmla="*/ 3172022 h 3323371"/>
                  <a:gd name="connsiteX12" fmla="*/ 3247697 w 3558511"/>
                  <a:gd name="connsiteY12" fmla="*/ 2635995 h 3323371"/>
                  <a:gd name="connsiteX13" fmla="*/ 3392740 w 3558511"/>
                  <a:gd name="connsiteY13" fmla="*/ 2245010 h 3323371"/>
                  <a:gd name="connsiteX14" fmla="*/ 3499945 w 3558511"/>
                  <a:gd name="connsiteY14" fmla="*/ 1809882 h 3323371"/>
                  <a:gd name="connsiteX15" fmla="*/ 3531476 w 3558511"/>
                  <a:gd name="connsiteY15" fmla="*/ 245942 h 3323371"/>
                  <a:gd name="connsiteX16" fmla="*/ 3499945 w 3558511"/>
                  <a:gd name="connsiteY16" fmla="*/ 94593 h 3323371"/>
                  <a:gd name="connsiteX17" fmla="*/ 3481027 w 3558511"/>
                  <a:gd name="connsiteY17" fmla="*/ 37838 h 3323371"/>
                  <a:gd name="connsiteX18" fmla="*/ 3436883 w 3558511"/>
                  <a:gd name="connsiteY18" fmla="*/ 12613 h 3323371"/>
                  <a:gd name="connsiteX19" fmla="*/ 3354902 w 3558511"/>
                  <a:gd name="connsiteY19" fmla="*/ 0 h 3323371"/>
                  <a:gd name="connsiteX20" fmla="*/ 3235084 w 3558511"/>
                  <a:gd name="connsiteY20" fmla="*/ 6307 h 3323371"/>
                  <a:gd name="connsiteX21" fmla="*/ 3165716 w 3558511"/>
                  <a:gd name="connsiteY21" fmla="*/ 18919 h 3323371"/>
                  <a:gd name="connsiteX22" fmla="*/ 2995449 w 3558511"/>
                  <a:gd name="connsiteY22" fmla="*/ 138737 h 3323371"/>
                  <a:gd name="connsiteX23" fmla="*/ 2888243 w 3558511"/>
                  <a:gd name="connsiteY23" fmla="*/ 245942 h 3323371"/>
                  <a:gd name="connsiteX24" fmla="*/ 2806262 w 3558511"/>
                  <a:gd name="connsiteY24" fmla="*/ 346842 h 3323371"/>
                  <a:gd name="connsiteX25" fmla="*/ 2812569 w 3558511"/>
                  <a:gd name="connsiteY25" fmla="*/ 309004 h 3323371"/>
                  <a:gd name="connsiteX26" fmla="*/ 2799956 w 3558511"/>
                  <a:gd name="connsiteY26" fmla="*/ 163962 h 3323371"/>
                  <a:gd name="connsiteX27" fmla="*/ 2793650 w 3558511"/>
                  <a:gd name="connsiteY27" fmla="*/ 145043 h 3323371"/>
                  <a:gd name="connsiteX28" fmla="*/ 2768425 w 3558511"/>
                  <a:gd name="connsiteY28" fmla="*/ 107206 h 3323371"/>
                  <a:gd name="connsiteX29" fmla="*/ 2717976 w 3558511"/>
                  <a:gd name="connsiteY29" fmla="*/ 56756 h 3323371"/>
                  <a:gd name="connsiteX30" fmla="*/ 2572933 w 3558511"/>
                  <a:gd name="connsiteY30" fmla="*/ 18919 h 3323371"/>
                  <a:gd name="connsiteX31" fmla="*/ 983769 w 3558511"/>
                  <a:gd name="connsiteY31" fmla="*/ 31531 h 3323371"/>
                  <a:gd name="connsiteX32" fmla="*/ 939625 w 3558511"/>
                  <a:gd name="connsiteY32" fmla="*/ 69369 h 3323371"/>
                  <a:gd name="connsiteX33" fmla="*/ 945931 w 3558511"/>
                  <a:gd name="connsiteY33" fmla="*/ 88287 h 3323371"/>
                  <a:gd name="connsiteX34" fmla="*/ 958544 w 3558511"/>
                  <a:gd name="connsiteY34" fmla="*/ 119818 h 3323371"/>
                  <a:gd name="connsiteX0" fmla="*/ 958544 w 3558511"/>
                  <a:gd name="connsiteY0" fmla="*/ 119818 h 3323371"/>
                  <a:gd name="connsiteX1" fmla="*/ 882869 w 3558511"/>
                  <a:gd name="connsiteY1" fmla="*/ 1696370 h 3323371"/>
                  <a:gd name="connsiteX2" fmla="*/ 554947 w 3558511"/>
                  <a:gd name="connsiteY2" fmla="*/ 2484646 h 3323371"/>
                  <a:gd name="connsiteX3" fmla="*/ 554946 w 3558511"/>
                  <a:gd name="connsiteY3" fmla="*/ 2509597 h 3323371"/>
                  <a:gd name="connsiteX4" fmla="*/ 18919 w 3558511"/>
                  <a:gd name="connsiteY4" fmla="*/ 3241391 h 3323371"/>
                  <a:gd name="connsiteX5" fmla="*/ 0 w 3558511"/>
                  <a:gd name="connsiteY5" fmla="*/ 3254003 h 3323371"/>
                  <a:gd name="connsiteX6" fmla="*/ 176574 w 3558511"/>
                  <a:gd name="connsiteY6" fmla="*/ 3279228 h 3323371"/>
                  <a:gd name="connsiteX7" fmla="*/ 1040524 w 3558511"/>
                  <a:gd name="connsiteY7" fmla="*/ 3310759 h 3323371"/>
                  <a:gd name="connsiteX8" fmla="*/ 2011680 w 3558511"/>
                  <a:gd name="connsiteY8" fmla="*/ 3317065 h 3323371"/>
                  <a:gd name="connsiteX9" fmla="*/ 2787344 w 3558511"/>
                  <a:gd name="connsiteY9" fmla="*/ 3323371 h 3323371"/>
                  <a:gd name="connsiteX10" fmla="*/ 2837793 w 3558511"/>
                  <a:gd name="connsiteY10" fmla="*/ 3317065 h 3323371"/>
                  <a:gd name="connsiteX11" fmla="*/ 2869324 w 3558511"/>
                  <a:gd name="connsiteY11" fmla="*/ 3291840 h 3323371"/>
                  <a:gd name="connsiteX12" fmla="*/ 2976530 w 3558511"/>
                  <a:gd name="connsiteY12" fmla="*/ 3172022 h 3323371"/>
                  <a:gd name="connsiteX13" fmla="*/ 3247697 w 3558511"/>
                  <a:gd name="connsiteY13" fmla="*/ 2635995 h 3323371"/>
                  <a:gd name="connsiteX14" fmla="*/ 3392740 w 3558511"/>
                  <a:gd name="connsiteY14" fmla="*/ 2245010 h 3323371"/>
                  <a:gd name="connsiteX15" fmla="*/ 3499945 w 3558511"/>
                  <a:gd name="connsiteY15" fmla="*/ 1809882 h 3323371"/>
                  <a:gd name="connsiteX16" fmla="*/ 3531476 w 3558511"/>
                  <a:gd name="connsiteY16" fmla="*/ 245942 h 3323371"/>
                  <a:gd name="connsiteX17" fmla="*/ 3499945 w 3558511"/>
                  <a:gd name="connsiteY17" fmla="*/ 94593 h 3323371"/>
                  <a:gd name="connsiteX18" fmla="*/ 3481027 w 3558511"/>
                  <a:gd name="connsiteY18" fmla="*/ 37838 h 3323371"/>
                  <a:gd name="connsiteX19" fmla="*/ 3436883 w 3558511"/>
                  <a:gd name="connsiteY19" fmla="*/ 12613 h 3323371"/>
                  <a:gd name="connsiteX20" fmla="*/ 3354902 w 3558511"/>
                  <a:gd name="connsiteY20" fmla="*/ 0 h 3323371"/>
                  <a:gd name="connsiteX21" fmla="*/ 3235084 w 3558511"/>
                  <a:gd name="connsiteY21" fmla="*/ 6307 h 3323371"/>
                  <a:gd name="connsiteX22" fmla="*/ 3165716 w 3558511"/>
                  <a:gd name="connsiteY22" fmla="*/ 18919 h 3323371"/>
                  <a:gd name="connsiteX23" fmla="*/ 2995449 w 3558511"/>
                  <a:gd name="connsiteY23" fmla="*/ 138737 h 3323371"/>
                  <a:gd name="connsiteX24" fmla="*/ 2888243 w 3558511"/>
                  <a:gd name="connsiteY24" fmla="*/ 245942 h 3323371"/>
                  <a:gd name="connsiteX25" fmla="*/ 2806262 w 3558511"/>
                  <a:gd name="connsiteY25" fmla="*/ 346842 h 3323371"/>
                  <a:gd name="connsiteX26" fmla="*/ 2812569 w 3558511"/>
                  <a:gd name="connsiteY26" fmla="*/ 309004 h 3323371"/>
                  <a:gd name="connsiteX27" fmla="*/ 2799956 w 3558511"/>
                  <a:gd name="connsiteY27" fmla="*/ 163962 h 3323371"/>
                  <a:gd name="connsiteX28" fmla="*/ 2793650 w 3558511"/>
                  <a:gd name="connsiteY28" fmla="*/ 145043 h 3323371"/>
                  <a:gd name="connsiteX29" fmla="*/ 2768425 w 3558511"/>
                  <a:gd name="connsiteY29" fmla="*/ 107206 h 3323371"/>
                  <a:gd name="connsiteX30" fmla="*/ 2717976 w 3558511"/>
                  <a:gd name="connsiteY30" fmla="*/ 56756 h 3323371"/>
                  <a:gd name="connsiteX31" fmla="*/ 2572933 w 3558511"/>
                  <a:gd name="connsiteY31" fmla="*/ 18919 h 3323371"/>
                  <a:gd name="connsiteX32" fmla="*/ 983769 w 3558511"/>
                  <a:gd name="connsiteY32" fmla="*/ 31531 h 3323371"/>
                  <a:gd name="connsiteX33" fmla="*/ 939625 w 3558511"/>
                  <a:gd name="connsiteY33" fmla="*/ 69369 h 3323371"/>
                  <a:gd name="connsiteX34" fmla="*/ 945931 w 3558511"/>
                  <a:gd name="connsiteY34" fmla="*/ 88287 h 3323371"/>
                  <a:gd name="connsiteX35" fmla="*/ 958544 w 3558511"/>
                  <a:gd name="connsiteY35" fmla="*/ 119818 h 3323371"/>
                  <a:gd name="connsiteX0" fmla="*/ 984595 w 3584562"/>
                  <a:gd name="connsiteY0" fmla="*/ 119818 h 3323371"/>
                  <a:gd name="connsiteX1" fmla="*/ 908920 w 3584562"/>
                  <a:gd name="connsiteY1" fmla="*/ 1696370 h 3323371"/>
                  <a:gd name="connsiteX2" fmla="*/ 580998 w 3584562"/>
                  <a:gd name="connsiteY2" fmla="*/ 2484646 h 3323371"/>
                  <a:gd name="connsiteX3" fmla="*/ 44970 w 3584562"/>
                  <a:gd name="connsiteY3" fmla="*/ 3241391 h 3323371"/>
                  <a:gd name="connsiteX4" fmla="*/ 26051 w 3584562"/>
                  <a:gd name="connsiteY4" fmla="*/ 3254003 h 3323371"/>
                  <a:gd name="connsiteX5" fmla="*/ 202625 w 3584562"/>
                  <a:gd name="connsiteY5" fmla="*/ 3279228 h 3323371"/>
                  <a:gd name="connsiteX6" fmla="*/ 1066575 w 3584562"/>
                  <a:gd name="connsiteY6" fmla="*/ 3310759 h 3323371"/>
                  <a:gd name="connsiteX7" fmla="*/ 2037731 w 3584562"/>
                  <a:gd name="connsiteY7" fmla="*/ 3317065 h 3323371"/>
                  <a:gd name="connsiteX8" fmla="*/ 2813395 w 3584562"/>
                  <a:gd name="connsiteY8" fmla="*/ 3323371 h 3323371"/>
                  <a:gd name="connsiteX9" fmla="*/ 2863844 w 3584562"/>
                  <a:gd name="connsiteY9" fmla="*/ 3317065 h 3323371"/>
                  <a:gd name="connsiteX10" fmla="*/ 2895375 w 3584562"/>
                  <a:gd name="connsiteY10" fmla="*/ 3291840 h 3323371"/>
                  <a:gd name="connsiteX11" fmla="*/ 3002581 w 3584562"/>
                  <a:gd name="connsiteY11" fmla="*/ 3172022 h 3323371"/>
                  <a:gd name="connsiteX12" fmla="*/ 3273748 w 3584562"/>
                  <a:gd name="connsiteY12" fmla="*/ 2635995 h 3323371"/>
                  <a:gd name="connsiteX13" fmla="*/ 3418791 w 3584562"/>
                  <a:gd name="connsiteY13" fmla="*/ 2245010 h 3323371"/>
                  <a:gd name="connsiteX14" fmla="*/ 3525996 w 3584562"/>
                  <a:gd name="connsiteY14" fmla="*/ 1809882 h 3323371"/>
                  <a:gd name="connsiteX15" fmla="*/ 3557527 w 3584562"/>
                  <a:gd name="connsiteY15" fmla="*/ 245942 h 3323371"/>
                  <a:gd name="connsiteX16" fmla="*/ 3525996 w 3584562"/>
                  <a:gd name="connsiteY16" fmla="*/ 94593 h 3323371"/>
                  <a:gd name="connsiteX17" fmla="*/ 3507078 w 3584562"/>
                  <a:gd name="connsiteY17" fmla="*/ 37838 h 3323371"/>
                  <a:gd name="connsiteX18" fmla="*/ 3462934 w 3584562"/>
                  <a:gd name="connsiteY18" fmla="*/ 12613 h 3323371"/>
                  <a:gd name="connsiteX19" fmla="*/ 3380953 w 3584562"/>
                  <a:gd name="connsiteY19" fmla="*/ 0 h 3323371"/>
                  <a:gd name="connsiteX20" fmla="*/ 3261135 w 3584562"/>
                  <a:gd name="connsiteY20" fmla="*/ 6307 h 3323371"/>
                  <a:gd name="connsiteX21" fmla="*/ 3191767 w 3584562"/>
                  <a:gd name="connsiteY21" fmla="*/ 18919 h 3323371"/>
                  <a:gd name="connsiteX22" fmla="*/ 3021500 w 3584562"/>
                  <a:gd name="connsiteY22" fmla="*/ 138737 h 3323371"/>
                  <a:gd name="connsiteX23" fmla="*/ 2914294 w 3584562"/>
                  <a:gd name="connsiteY23" fmla="*/ 245942 h 3323371"/>
                  <a:gd name="connsiteX24" fmla="*/ 2832313 w 3584562"/>
                  <a:gd name="connsiteY24" fmla="*/ 346842 h 3323371"/>
                  <a:gd name="connsiteX25" fmla="*/ 2838620 w 3584562"/>
                  <a:gd name="connsiteY25" fmla="*/ 309004 h 3323371"/>
                  <a:gd name="connsiteX26" fmla="*/ 2826007 w 3584562"/>
                  <a:gd name="connsiteY26" fmla="*/ 163962 h 3323371"/>
                  <a:gd name="connsiteX27" fmla="*/ 2819701 w 3584562"/>
                  <a:gd name="connsiteY27" fmla="*/ 145043 h 3323371"/>
                  <a:gd name="connsiteX28" fmla="*/ 2794476 w 3584562"/>
                  <a:gd name="connsiteY28" fmla="*/ 107206 h 3323371"/>
                  <a:gd name="connsiteX29" fmla="*/ 2744027 w 3584562"/>
                  <a:gd name="connsiteY29" fmla="*/ 56756 h 3323371"/>
                  <a:gd name="connsiteX30" fmla="*/ 2598984 w 3584562"/>
                  <a:gd name="connsiteY30" fmla="*/ 18919 h 3323371"/>
                  <a:gd name="connsiteX31" fmla="*/ 1009820 w 3584562"/>
                  <a:gd name="connsiteY31" fmla="*/ 31531 h 3323371"/>
                  <a:gd name="connsiteX32" fmla="*/ 965676 w 3584562"/>
                  <a:gd name="connsiteY32" fmla="*/ 69369 h 3323371"/>
                  <a:gd name="connsiteX33" fmla="*/ 971982 w 3584562"/>
                  <a:gd name="connsiteY33" fmla="*/ 88287 h 3323371"/>
                  <a:gd name="connsiteX34" fmla="*/ 984595 w 3584562"/>
                  <a:gd name="connsiteY34" fmla="*/ 119818 h 3323371"/>
                  <a:gd name="connsiteX0" fmla="*/ 1008743 w 3608710"/>
                  <a:gd name="connsiteY0" fmla="*/ 119818 h 3359159"/>
                  <a:gd name="connsiteX1" fmla="*/ 933068 w 3608710"/>
                  <a:gd name="connsiteY1" fmla="*/ 1696370 h 3359159"/>
                  <a:gd name="connsiteX2" fmla="*/ 69118 w 3608710"/>
                  <a:gd name="connsiteY2" fmla="*/ 3241391 h 3359159"/>
                  <a:gd name="connsiteX3" fmla="*/ 50199 w 3608710"/>
                  <a:gd name="connsiteY3" fmla="*/ 3254003 h 3359159"/>
                  <a:gd name="connsiteX4" fmla="*/ 226773 w 3608710"/>
                  <a:gd name="connsiteY4" fmla="*/ 3279228 h 3359159"/>
                  <a:gd name="connsiteX5" fmla="*/ 1090723 w 3608710"/>
                  <a:gd name="connsiteY5" fmla="*/ 3310759 h 3359159"/>
                  <a:gd name="connsiteX6" fmla="*/ 2061879 w 3608710"/>
                  <a:gd name="connsiteY6" fmla="*/ 3317065 h 3359159"/>
                  <a:gd name="connsiteX7" fmla="*/ 2837543 w 3608710"/>
                  <a:gd name="connsiteY7" fmla="*/ 3323371 h 3359159"/>
                  <a:gd name="connsiteX8" fmla="*/ 2887992 w 3608710"/>
                  <a:gd name="connsiteY8" fmla="*/ 3317065 h 3359159"/>
                  <a:gd name="connsiteX9" fmla="*/ 2919523 w 3608710"/>
                  <a:gd name="connsiteY9" fmla="*/ 3291840 h 3359159"/>
                  <a:gd name="connsiteX10" fmla="*/ 3026729 w 3608710"/>
                  <a:gd name="connsiteY10" fmla="*/ 3172022 h 3359159"/>
                  <a:gd name="connsiteX11" fmla="*/ 3297896 w 3608710"/>
                  <a:gd name="connsiteY11" fmla="*/ 2635995 h 3359159"/>
                  <a:gd name="connsiteX12" fmla="*/ 3442939 w 3608710"/>
                  <a:gd name="connsiteY12" fmla="*/ 2245010 h 3359159"/>
                  <a:gd name="connsiteX13" fmla="*/ 3550144 w 3608710"/>
                  <a:gd name="connsiteY13" fmla="*/ 1809882 h 3359159"/>
                  <a:gd name="connsiteX14" fmla="*/ 3581675 w 3608710"/>
                  <a:gd name="connsiteY14" fmla="*/ 245942 h 3359159"/>
                  <a:gd name="connsiteX15" fmla="*/ 3550144 w 3608710"/>
                  <a:gd name="connsiteY15" fmla="*/ 94593 h 3359159"/>
                  <a:gd name="connsiteX16" fmla="*/ 3531226 w 3608710"/>
                  <a:gd name="connsiteY16" fmla="*/ 37838 h 3359159"/>
                  <a:gd name="connsiteX17" fmla="*/ 3487082 w 3608710"/>
                  <a:gd name="connsiteY17" fmla="*/ 12613 h 3359159"/>
                  <a:gd name="connsiteX18" fmla="*/ 3405101 w 3608710"/>
                  <a:gd name="connsiteY18" fmla="*/ 0 h 3359159"/>
                  <a:gd name="connsiteX19" fmla="*/ 3285283 w 3608710"/>
                  <a:gd name="connsiteY19" fmla="*/ 6307 h 3359159"/>
                  <a:gd name="connsiteX20" fmla="*/ 3215915 w 3608710"/>
                  <a:gd name="connsiteY20" fmla="*/ 18919 h 3359159"/>
                  <a:gd name="connsiteX21" fmla="*/ 3045648 w 3608710"/>
                  <a:gd name="connsiteY21" fmla="*/ 138737 h 3359159"/>
                  <a:gd name="connsiteX22" fmla="*/ 2938442 w 3608710"/>
                  <a:gd name="connsiteY22" fmla="*/ 245942 h 3359159"/>
                  <a:gd name="connsiteX23" fmla="*/ 2856461 w 3608710"/>
                  <a:gd name="connsiteY23" fmla="*/ 346842 h 3359159"/>
                  <a:gd name="connsiteX24" fmla="*/ 2862768 w 3608710"/>
                  <a:gd name="connsiteY24" fmla="*/ 309004 h 3359159"/>
                  <a:gd name="connsiteX25" fmla="*/ 2850155 w 3608710"/>
                  <a:gd name="connsiteY25" fmla="*/ 163962 h 3359159"/>
                  <a:gd name="connsiteX26" fmla="*/ 2843849 w 3608710"/>
                  <a:gd name="connsiteY26" fmla="*/ 145043 h 3359159"/>
                  <a:gd name="connsiteX27" fmla="*/ 2818624 w 3608710"/>
                  <a:gd name="connsiteY27" fmla="*/ 107206 h 3359159"/>
                  <a:gd name="connsiteX28" fmla="*/ 2768175 w 3608710"/>
                  <a:gd name="connsiteY28" fmla="*/ 56756 h 3359159"/>
                  <a:gd name="connsiteX29" fmla="*/ 2623132 w 3608710"/>
                  <a:gd name="connsiteY29" fmla="*/ 18919 h 3359159"/>
                  <a:gd name="connsiteX30" fmla="*/ 1033968 w 3608710"/>
                  <a:gd name="connsiteY30" fmla="*/ 31531 h 3359159"/>
                  <a:gd name="connsiteX31" fmla="*/ 989824 w 3608710"/>
                  <a:gd name="connsiteY31" fmla="*/ 69369 h 3359159"/>
                  <a:gd name="connsiteX32" fmla="*/ 996130 w 3608710"/>
                  <a:gd name="connsiteY32" fmla="*/ 88287 h 3359159"/>
                  <a:gd name="connsiteX33" fmla="*/ 1008743 w 3608710"/>
                  <a:gd name="connsiteY33" fmla="*/ 119818 h 3359159"/>
                  <a:gd name="connsiteX0" fmla="*/ 989679 w 3589646"/>
                  <a:gd name="connsiteY0" fmla="*/ 119818 h 3366395"/>
                  <a:gd name="connsiteX1" fmla="*/ 914004 w 3589646"/>
                  <a:gd name="connsiteY1" fmla="*/ 1696370 h 3366395"/>
                  <a:gd name="connsiteX2" fmla="*/ 50054 w 3589646"/>
                  <a:gd name="connsiteY2" fmla="*/ 3241391 h 3366395"/>
                  <a:gd name="connsiteX3" fmla="*/ 207709 w 3589646"/>
                  <a:gd name="connsiteY3" fmla="*/ 3279228 h 3366395"/>
                  <a:gd name="connsiteX4" fmla="*/ 1071659 w 3589646"/>
                  <a:gd name="connsiteY4" fmla="*/ 3310759 h 3366395"/>
                  <a:gd name="connsiteX5" fmla="*/ 2042815 w 3589646"/>
                  <a:gd name="connsiteY5" fmla="*/ 3317065 h 3366395"/>
                  <a:gd name="connsiteX6" fmla="*/ 2818479 w 3589646"/>
                  <a:gd name="connsiteY6" fmla="*/ 3323371 h 3366395"/>
                  <a:gd name="connsiteX7" fmla="*/ 2868928 w 3589646"/>
                  <a:gd name="connsiteY7" fmla="*/ 3317065 h 3366395"/>
                  <a:gd name="connsiteX8" fmla="*/ 2900459 w 3589646"/>
                  <a:gd name="connsiteY8" fmla="*/ 3291840 h 3366395"/>
                  <a:gd name="connsiteX9" fmla="*/ 3007665 w 3589646"/>
                  <a:gd name="connsiteY9" fmla="*/ 3172022 h 3366395"/>
                  <a:gd name="connsiteX10" fmla="*/ 3278832 w 3589646"/>
                  <a:gd name="connsiteY10" fmla="*/ 2635995 h 3366395"/>
                  <a:gd name="connsiteX11" fmla="*/ 3423875 w 3589646"/>
                  <a:gd name="connsiteY11" fmla="*/ 2245010 h 3366395"/>
                  <a:gd name="connsiteX12" fmla="*/ 3531080 w 3589646"/>
                  <a:gd name="connsiteY12" fmla="*/ 1809882 h 3366395"/>
                  <a:gd name="connsiteX13" fmla="*/ 3562611 w 3589646"/>
                  <a:gd name="connsiteY13" fmla="*/ 245942 h 3366395"/>
                  <a:gd name="connsiteX14" fmla="*/ 3531080 w 3589646"/>
                  <a:gd name="connsiteY14" fmla="*/ 94593 h 3366395"/>
                  <a:gd name="connsiteX15" fmla="*/ 3512162 w 3589646"/>
                  <a:gd name="connsiteY15" fmla="*/ 37838 h 3366395"/>
                  <a:gd name="connsiteX16" fmla="*/ 3468018 w 3589646"/>
                  <a:gd name="connsiteY16" fmla="*/ 12613 h 3366395"/>
                  <a:gd name="connsiteX17" fmla="*/ 3386037 w 3589646"/>
                  <a:gd name="connsiteY17" fmla="*/ 0 h 3366395"/>
                  <a:gd name="connsiteX18" fmla="*/ 3266219 w 3589646"/>
                  <a:gd name="connsiteY18" fmla="*/ 6307 h 3366395"/>
                  <a:gd name="connsiteX19" fmla="*/ 3196851 w 3589646"/>
                  <a:gd name="connsiteY19" fmla="*/ 18919 h 3366395"/>
                  <a:gd name="connsiteX20" fmla="*/ 3026584 w 3589646"/>
                  <a:gd name="connsiteY20" fmla="*/ 138737 h 3366395"/>
                  <a:gd name="connsiteX21" fmla="*/ 2919378 w 3589646"/>
                  <a:gd name="connsiteY21" fmla="*/ 245942 h 3366395"/>
                  <a:gd name="connsiteX22" fmla="*/ 2837397 w 3589646"/>
                  <a:gd name="connsiteY22" fmla="*/ 346842 h 3366395"/>
                  <a:gd name="connsiteX23" fmla="*/ 2843704 w 3589646"/>
                  <a:gd name="connsiteY23" fmla="*/ 309004 h 3366395"/>
                  <a:gd name="connsiteX24" fmla="*/ 2831091 w 3589646"/>
                  <a:gd name="connsiteY24" fmla="*/ 163962 h 3366395"/>
                  <a:gd name="connsiteX25" fmla="*/ 2824785 w 3589646"/>
                  <a:gd name="connsiteY25" fmla="*/ 145043 h 3366395"/>
                  <a:gd name="connsiteX26" fmla="*/ 2799560 w 3589646"/>
                  <a:gd name="connsiteY26" fmla="*/ 107206 h 3366395"/>
                  <a:gd name="connsiteX27" fmla="*/ 2749111 w 3589646"/>
                  <a:gd name="connsiteY27" fmla="*/ 56756 h 3366395"/>
                  <a:gd name="connsiteX28" fmla="*/ 2604068 w 3589646"/>
                  <a:gd name="connsiteY28" fmla="*/ 18919 h 3366395"/>
                  <a:gd name="connsiteX29" fmla="*/ 1014904 w 3589646"/>
                  <a:gd name="connsiteY29" fmla="*/ 31531 h 3366395"/>
                  <a:gd name="connsiteX30" fmla="*/ 970760 w 3589646"/>
                  <a:gd name="connsiteY30" fmla="*/ 69369 h 3366395"/>
                  <a:gd name="connsiteX31" fmla="*/ 977066 w 3589646"/>
                  <a:gd name="connsiteY31" fmla="*/ 88287 h 3366395"/>
                  <a:gd name="connsiteX32" fmla="*/ 989679 w 3589646"/>
                  <a:gd name="connsiteY32" fmla="*/ 119818 h 3366395"/>
                  <a:gd name="connsiteX0" fmla="*/ 940314 w 3540281"/>
                  <a:gd name="connsiteY0" fmla="*/ 119818 h 3378446"/>
                  <a:gd name="connsiteX1" fmla="*/ 864639 w 3540281"/>
                  <a:gd name="connsiteY1" fmla="*/ 1696370 h 3378446"/>
                  <a:gd name="connsiteX2" fmla="*/ 689 w 3540281"/>
                  <a:gd name="connsiteY2" fmla="*/ 3241391 h 3378446"/>
                  <a:gd name="connsiteX3" fmla="*/ 1022294 w 3540281"/>
                  <a:gd name="connsiteY3" fmla="*/ 3310759 h 3378446"/>
                  <a:gd name="connsiteX4" fmla="*/ 1993450 w 3540281"/>
                  <a:gd name="connsiteY4" fmla="*/ 3317065 h 3378446"/>
                  <a:gd name="connsiteX5" fmla="*/ 2769114 w 3540281"/>
                  <a:gd name="connsiteY5" fmla="*/ 3323371 h 3378446"/>
                  <a:gd name="connsiteX6" fmla="*/ 2819563 w 3540281"/>
                  <a:gd name="connsiteY6" fmla="*/ 3317065 h 3378446"/>
                  <a:gd name="connsiteX7" fmla="*/ 2851094 w 3540281"/>
                  <a:gd name="connsiteY7" fmla="*/ 3291840 h 3378446"/>
                  <a:gd name="connsiteX8" fmla="*/ 2958300 w 3540281"/>
                  <a:gd name="connsiteY8" fmla="*/ 3172022 h 3378446"/>
                  <a:gd name="connsiteX9" fmla="*/ 3229467 w 3540281"/>
                  <a:gd name="connsiteY9" fmla="*/ 2635995 h 3378446"/>
                  <a:gd name="connsiteX10" fmla="*/ 3374510 w 3540281"/>
                  <a:gd name="connsiteY10" fmla="*/ 2245010 h 3378446"/>
                  <a:gd name="connsiteX11" fmla="*/ 3481715 w 3540281"/>
                  <a:gd name="connsiteY11" fmla="*/ 1809882 h 3378446"/>
                  <a:gd name="connsiteX12" fmla="*/ 3513246 w 3540281"/>
                  <a:gd name="connsiteY12" fmla="*/ 245942 h 3378446"/>
                  <a:gd name="connsiteX13" fmla="*/ 3481715 w 3540281"/>
                  <a:gd name="connsiteY13" fmla="*/ 94593 h 3378446"/>
                  <a:gd name="connsiteX14" fmla="*/ 3462797 w 3540281"/>
                  <a:gd name="connsiteY14" fmla="*/ 37838 h 3378446"/>
                  <a:gd name="connsiteX15" fmla="*/ 3418653 w 3540281"/>
                  <a:gd name="connsiteY15" fmla="*/ 12613 h 3378446"/>
                  <a:gd name="connsiteX16" fmla="*/ 3336672 w 3540281"/>
                  <a:gd name="connsiteY16" fmla="*/ 0 h 3378446"/>
                  <a:gd name="connsiteX17" fmla="*/ 3216854 w 3540281"/>
                  <a:gd name="connsiteY17" fmla="*/ 6307 h 3378446"/>
                  <a:gd name="connsiteX18" fmla="*/ 3147486 w 3540281"/>
                  <a:gd name="connsiteY18" fmla="*/ 18919 h 3378446"/>
                  <a:gd name="connsiteX19" fmla="*/ 2977219 w 3540281"/>
                  <a:gd name="connsiteY19" fmla="*/ 138737 h 3378446"/>
                  <a:gd name="connsiteX20" fmla="*/ 2870013 w 3540281"/>
                  <a:gd name="connsiteY20" fmla="*/ 245942 h 3378446"/>
                  <a:gd name="connsiteX21" fmla="*/ 2788032 w 3540281"/>
                  <a:gd name="connsiteY21" fmla="*/ 346842 h 3378446"/>
                  <a:gd name="connsiteX22" fmla="*/ 2794339 w 3540281"/>
                  <a:gd name="connsiteY22" fmla="*/ 309004 h 3378446"/>
                  <a:gd name="connsiteX23" fmla="*/ 2781726 w 3540281"/>
                  <a:gd name="connsiteY23" fmla="*/ 163962 h 3378446"/>
                  <a:gd name="connsiteX24" fmla="*/ 2775420 w 3540281"/>
                  <a:gd name="connsiteY24" fmla="*/ 145043 h 3378446"/>
                  <a:gd name="connsiteX25" fmla="*/ 2750195 w 3540281"/>
                  <a:gd name="connsiteY25" fmla="*/ 107206 h 3378446"/>
                  <a:gd name="connsiteX26" fmla="*/ 2699746 w 3540281"/>
                  <a:gd name="connsiteY26" fmla="*/ 56756 h 3378446"/>
                  <a:gd name="connsiteX27" fmla="*/ 2554703 w 3540281"/>
                  <a:gd name="connsiteY27" fmla="*/ 18919 h 3378446"/>
                  <a:gd name="connsiteX28" fmla="*/ 965539 w 3540281"/>
                  <a:gd name="connsiteY28" fmla="*/ 31531 h 3378446"/>
                  <a:gd name="connsiteX29" fmla="*/ 921395 w 3540281"/>
                  <a:gd name="connsiteY29" fmla="*/ 69369 h 3378446"/>
                  <a:gd name="connsiteX30" fmla="*/ 927701 w 3540281"/>
                  <a:gd name="connsiteY30" fmla="*/ 88287 h 3378446"/>
                  <a:gd name="connsiteX31" fmla="*/ 940314 w 3540281"/>
                  <a:gd name="connsiteY31" fmla="*/ 119818 h 3378446"/>
                  <a:gd name="connsiteX0" fmla="*/ 965468 w 3565435"/>
                  <a:gd name="connsiteY0" fmla="*/ 119818 h 3380784"/>
                  <a:gd name="connsiteX1" fmla="*/ 889793 w 3565435"/>
                  <a:gd name="connsiteY1" fmla="*/ 1696370 h 3380784"/>
                  <a:gd name="connsiteX2" fmla="*/ 25843 w 3565435"/>
                  <a:gd name="connsiteY2" fmla="*/ 3241391 h 3380784"/>
                  <a:gd name="connsiteX3" fmla="*/ 2018604 w 3565435"/>
                  <a:gd name="connsiteY3" fmla="*/ 3317065 h 3380784"/>
                  <a:gd name="connsiteX4" fmla="*/ 2794268 w 3565435"/>
                  <a:gd name="connsiteY4" fmla="*/ 3323371 h 3380784"/>
                  <a:gd name="connsiteX5" fmla="*/ 2844717 w 3565435"/>
                  <a:gd name="connsiteY5" fmla="*/ 3317065 h 3380784"/>
                  <a:gd name="connsiteX6" fmla="*/ 2876248 w 3565435"/>
                  <a:gd name="connsiteY6" fmla="*/ 3291840 h 3380784"/>
                  <a:gd name="connsiteX7" fmla="*/ 2983454 w 3565435"/>
                  <a:gd name="connsiteY7" fmla="*/ 3172022 h 3380784"/>
                  <a:gd name="connsiteX8" fmla="*/ 3254621 w 3565435"/>
                  <a:gd name="connsiteY8" fmla="*/ 2635995 h 3380784"/>
                  <a:gd name="connsiteX9" fmla="*/ 3399664 w 3565435"/>
                  <a:gd name="connsiteY9" fmla="*/ 2245010 h 3380784"/>
                  <a:gd name="connsiteX10" fmla="*/ 3506869 w 3565435"/>
                  <a:gd name="connsiteY10" fmla="*/ 1809882 h 3380784"/>
                  <a:gd name="connsiteX11" fmla="*/ 3538400 w 3565435"/>
                  <a:gd name="connsiteY11" fmla="*/ 245942 h 3380784"/>
                  <a:gd name="connsiteX12" fmla="*/ 3506869 w 3565435"/>
                  <a:gd name="connsiteY12" fmla="*/ 94593 h 3380784"/>
                  <a:gd name="connsiteX13" fmla="*/ 3487951 w 3565435"/>
                  <a:gd name="connsiteY13" fmla="*/ 37838 h 3380784"/>
                  <a:gd name="connsiteX14" fmla="*/ 3443807 w 3565435"/>
                  <a:gd name="connsiteY14" fmla="*/ 12613 h 3380784"/>
                  <a:gd name="connsiteX15" fmla="*/ 3361826 w 3565435"/>
                  <a:gd name="connsiteY15" fmla="*/ 0 h 3380784"/>
                  <a:gd name="connsiteX16" fmla="*/ 3242008 w 3565435"/>
                  <a:gd name="connsiteY16" fmla="*/ 6307 h 3380784"/>
                  <a:gd name="connsiteX17" fmla="*/ 3172640 w 3565435"/>
                  <a:gd name="connsiteY17" fmla="*/ 18919 h 3380784"/>
                  <a:gd name="connsiteX18" fmla="*/ 3002373 w 3565435"/>
                  <a:gd name="connsiteY18" fmla="*/ 138737 h 3380784"/>
                  <a:gd name="connsiteX19" fmla="*/ 2895167 w 3565435"/>
                  <a:gd name="connsiteY19" fmla="*/ 245942 h 3380784"/>
                  <a:gd name="connsiteX20" fmla="*/ 2813186 w 3565435"/>
                  <a:gd name="connsiteY20" fmla="*/ 346842 h 3380784"/>
                  <a:gd name="connsiteX21" fmla="*/ 2819493 w 3565435"/>
                  <a:gd name="connsiteY21" fmla="*/ 309004 h 3380784"/>
                  <a:gd name="connsiteX22" fmla="*/ 2806880 w 3565435"/>
                  <a:gd name="connsiteY22" fmla="*/ 163962 h 3380784"/>
                  <a:gd name="connsiteX23" fmla="*/ 2800574 w 3565435"/>
                  <a:gd name="connsiteY23" fmla="*/ 145043 h 3380784"/>
                  <a:gd name="connsiteX24" fmla="*/ 2775349 w 3565435"/>
                  <a:gd name="connsiteY24" fmla="*/ 107206 h 3380784"/>
                  <a:gd name="connsiteX25" fmla="*/ 2724900 w 3565435"/>
                  <a:gd name="connsiteY25" fmla="*/ 56756 h 3380784"/>
                  <a:gd name="connsiteX26" fmla="*/ 2579857 w 3565435"/>
                  <a:gd name="connsiteY26" fmla="*/ 18919 h 3380784"/>
                  <a:gd name="connsiteX27" fmla="*/ 990693 w 3565435"/>
                  <a:gd name="connsiteY27" fmla="*/ 31531 h 3380784"/>
                  <a:gd name="connsiteX28" fmla="*/ 946549 w 3565435"/>
                  <a:gd name="connsiteY28" fmla="*/ 69369 h 3380784"/>
                  <a:gd name="connsiteX29" fmla="*/ 952855 w 3565435"/>
                  <a:gd name="connsiteY29" fmla="*/ 88287 h 3380784"/>
                  <a:gd name="connsiteX30" fmla="*/ 965468 w 3565435"/>
                  <a:gd name="connsiteY30" fmla="*/ 119818 h 3380784"/>
                  <a:gd name="connsiteX0" fmla="*/ 965468 w 3565435"/>
                  <a:gd name="connsiteY0" fmla="*/ 119818 h 3380784"/>
                  <a:gd name="connsiteX1" fmla="*/ 889793 w 3565435"/>
                  <a:gd name="connsiteY1" fmla="*/ 1696370 h 3380784"/>
                  <a:gd name="connsiteX2" fmla="*/ 25843 w 3565435"/>
                  <a:gd name="connsiteY2" fmla="*/ 3241391 h 3380784"/>
                  <a:gd name="connsiteX3" fmla="*/ 2018604 w 3565435"/>
                  <a:gd name="connsiteY3" fmla="*/ 3317065 h 3380784"/>
                  <a:gd name="connsiteX4" fmla="*/ 2794268 w 3565435"/>
                  <a:gd name="connsiteY4" fmla="*/ 3323371 h 3380784"/>
                  <a:gd name="connsiteX5" fmla="*/ 2844717 w 3565435"/>
                  <a:gd name="connsiteY5" fmla="*/ 3317065 h 3380784"/>
                  <a:gd name="connsiteX6" fmla="*/ 2876248 w 3565435"/>
                  <a:gd name="connsiteY6" fmla="*/ 3291840 h 3380784"/>
                  <a:gd name="connsiteX7" fmla="*/ 2983454 w 3565435"/>
                  <a:gd name="connsiteY7" fmla="*/ 3172022 h 3380784"/>
                  <a:gd name="connsiteX8" fmla="*/ 3254621 w 3565435"/>
                  <a:gd name="connsiteY8" fmla="*/ 2635995 h 3380784"/>
                  <a:gd name="connsiteX9" fmla="*/ 3399664 w 3565435"/>
                  <a:gd name="connsiteY9" fmla="*/ 2245010 h 3380784"/>
                  <a:gd name="connsiteX10" fmla="*/ 3506869 w 3565435"/>
                  <a:gd name="connsiteY10" fmla="*/ 1809882 h 3380784"/>
                  <a:gd name="connsiteX11" fmla="*/ 3538400 w 3565435"/>
                  <a:gd name="connsiteY11" fmla="*/ 245942 h 3380784"/>
                  <a:gd name="connsiteX12" fmla="*/ 3506869 w 3565435"/>
                  <a:gd name="connsiteY12" fmla="*/ 94593 h 3380784"/>
                  <a:gd name="connsiteX13" fmla="*/ 3487951 w 3565435"/>
                  <a:gd name="connsiteY13" fmla="*/ 37838 h 3380784"/>
                  <a:gd name="connsiteX14" fmla="*/ 3443807 w 3565435"/>
                  <a:gd name="connsiteY14" fmla="*/ 12613 h 3380784"/>
                  <a:gd name="connsiteX15" fmla="*/ 3361826 w 3565435"/>
                  <a:gd name="connsiteY15" fmla="*/ 0 h 3380784"/>
                  <a:gd name="connsiteX16" fmla="*/ 3242008 w 3565435"/>
                  <a:gd name="connsiteY16" fmla="*/ 6307 h 3380784"/>
                  <a:gd name="connsiteX17" fmla="*/ 3172640 w 3565435"/>
                  <a:gd name="connsiteY17" fmla="*/ 18919 h 3380784"/>
                  <a:gd name="connsiteX18" fmla="*/ 3002373 w 3565435"/>
                  <a:gd name="connsiteY18" fmla="*/ 138737 h 3380784"/>
                  <a:gd name="connsiteX19" fmla="*/ 2895167 w 3565435"/>
                  <a:gd name="connsiteY19" fmla="*/ 245942 h 3380784"/>
                  <a:gd name="connsiteX20" fmla="*/ 2813186 w 3565435"/>
                  <a:gd name="connsiteY20" fmla="*/ 346842 h 3380784"/>
                  <a:gd name="connsiteX21" fmla="*/ 2819493 w 3565435"/>
                  <a:gd name="connsiteY21" fmla="*/ 309004 h 3380784"/>
                  <a:gd name="connsiteX22" fmla="*/ 2806880 w 3565435"/>
                  <a:gd name="connsiteY22" fmla="*/ 163962 h 3380784"/>
                  <a:gd name="connsiteX23" fmla="*/ 2800574 w 3565435"/>
                  <a:gd name="connsiteY23" fmla="*/ 145043 h 3380784"/>
                  <a:gd name="connsiteX24" fmla="*/ 2775349 w 3565435"/>
                  <a:gd name="connsiteY24" fmla="*/ 107206 h 3380784"/>
                  <a:gd name="connsiteX25" fmla="*/ 2724900 w 3565435"/>
                  <a:gd name="connsiteY25" fmla="*/ 56756 h 3380784"/>
                  <a:gd name="connsiteX26" fmla="*/ 2579857 w 3565435"/>
                  <a:gd name="connsiteY26" fmla="*/ 18919 h 3380784"/>
                  <a:gd name="connsiteX27" fmla="*/ 990693 w 3565435"/>
                  <a:gd name="connsiteY27" fmla="*/ 31531 h 3380784"/>
                  <a:gd name="connsiteX28" fmla="*/ 946549 w 3565435"/>
                  <a:gd name="connsiteY28" fmla="*/ 69369 h 3380784"/>
                  <a:gd name="connsiteX29" fmla="*/ 952855 w 3565435"/>
                  <a:gd name="connsiteY29" fmla="*/ 88287 h 3380784"/>
                  <a:gd name="connsiteX30" fmla="*/ 965468 w 3565435"/>
                  <a:gd name="connsiteY30" fmla="*/ 119818 h 3380784"/>
                  <a:gd name="connsiteX0" fmla="*/ 965468 w 3565435"/>
                  <a:gd name="connsiteY0" fmla="*/ 119818 h 3324625"/>
                  <a:gd name="connsiteX1" fmla="*/ 889793 w 3565435"/>
                  <a:gd name="connsiteY1" fmla="*/ 1696370 h 3324625"/>
                  <a:gd name="connsiteX2" fmla="*/ 25843 w 3565435"/>
                  <a:gd name="connsiteY2" fmla="*/ 3241391 h 3324625"/>
                  <a:gd name="connsiteX3" fmla="*/ 2018604 w 3565435"/>
                  <a:gd name="connsiteY3" fmla="*/ 3317065 h 3324625"/>
                  <a:gd name="connsiteX4" fmla="*/ 2794268 w 3565435"/>
                  <a:gd name="connsiteY4" fmla="*/ 3323371 h 3324625"/>
                  <a:gd name="connsiteX5" fmla="*/ 2844717 w 3565435"/>
                  <a:gd name="connsiteY5" fmla="*/ 3317065 h 3324625"/>
                  <a:gd name="connsiteX6" fmla="*/ 2876248 w 3565435"/>
                  <a:gd name="connsiteY6" fmla="*/ 3291840 h 3324625"/>
                  <a:gd name="connsiteX7" fmla="*/ 2983454 w 3565435"/>
                  <a:gd name="connsiteY7" fmla="*/ 3172022 h 3324625"/>
                  <a:gd name="connsiteX8" fmla="*/ 3254621 w 3565435"/>
                  <a:gd name="connsiteY8" fmla="*/ 2635995 h 3324625"/>
                  <a:gd name="connsiteX9" fmla="*/ 3399664 w 3565435"/>
                  <a:gd name="connsiteY9" fmla="*/ 2245010 h 3324625"/>
                  <a:gd name="connsiteX10" fmla="*/ 3506869 w 3565435"/>
                  <a:gd name="connsiteY10" fmla="*/ 1809882 h 3324625"/>
                  <a:gd name="connsiteX11" fmla="*/ 3538400 w 3565435"/>
                  <a:gd name="connsiteY11" fmla="*/ 245942 h 3324625"/>
                  <a:gd name="connsiteX12" fmla="*/ 3506869 w 3565435"/>
                  <a:gd name="connsiteY12" fmla="*/ 94593 h 3324625"/>
                  <a:gd name="connsiteX13" fmla="*/ 3487951 w 3565435"/>
                  <a:gd name="connsiteY13" fmla="*/ 37838 h 3324625"/>
                  <a:gd name="connsiteX14" fmla="*/ 3443807 w 3565435"/>
                  <a:gd name="connsiteY14" fmla="*/ 12613 h 3324625"/>
                  <a:gd name="connsiteX15" fmla="*/ 3361826 w 3565435"/>
                  <a:gd name="connsiteY15" fmla="*/ 0 h 3324625"/>
                  <a:gd name="connsiteX16" fmla="*/ 3242008 w 3565435"/>
                  <a:gd name="connsiteY16" fmla="*/ 6307 h 3324625"/>
                  <a:gd name="connsiteX17" fmla="*/ 3172640 w 3565435"/>
                  <a:gd name="connsiteY17" fmla="*/ 18919 h 3324625"/>
                  <a:gd name="connsiteX18" fmla="*/ 3002373 w 3565435"/>
                  <a:gd name="connsiteY18" fmla="*/ 138737 h 3324625"/>
                  <a:gd name="connsiteX19" fmla="*/ 2895167 w 3565435"/>
                  <a:gd name="connsiteY19" fmla="*/ 245942 h 3324625"/>
                  <a:gd name="connsiteX20" fmla="*/ 2813186 w 3565435"/>
                  <a:gd name="connsiteY20" fmla="*/ 346842 h 3324625"/>
                  <a:gd name="connsiteX21" fmla="*/ 2819493 w 3565435"/>
                  <a:gd name="connsiteY21" fmla="*/ 309004 h 3324625"/>
                  <a:gd name="connsiteX22" fmla="*/ 2806880 w 3565435"/>
                  <a:gd name="connsiteY22" fmla="*/ 163962 h 3324625"/>
                  <a:gd name="connsiteX23" fmla="*/ 2800574 w 3565435"/>
                  <a:gd name="connsiteY23" fmla="*/ 145043 h 3324625"/>
                  <a:gd name="connsiteX24" fmla="*/ 2775349 w 3565435"/>
                  <a:gd name="connsiteY24" fmla="*/ 107206 h 3324625"/>
                  <a:gd name="connsiteX25" fmla="*/ 2724900 w 3565435"/>
                  <a:gd name="connsiteY25" fmla="*/ 56756 h 3324625"/>
                  <a:gd name="connsiteX26" fmla="*/ 2579857 w 3565435"/>
                  <a:gd name="connsiteY26" fmla="*/ 18919 h 3324625"/>
                  <a:gd name="connsiteX27" fmla="*/ 990693 w 3565435"/>
                  <a:gd name="connsiteY27" fmla="*/ 31531 h 3324625"/>
                  <a:gd name="connsiteX28" fmla="*/ 946549 w 3565435"/>
                  <a:gd name="connsiteY28" fmla="*/ 69369 h 3324625"/>
                  <a:gd name="connsiteX29" fmla="*/ 952855 w 3565435"/>
                  <a:gd name="connsiteY29" fmla="*/ 88287 h 3324625"/>
                  <a:gd name="connsiteX30" fmla="*/ 965468 w 3565435"/>
                  <a:gd name="connsiteY30" fmla="*/ 119818 h 3324625"/>
                  <a:gd name="connsiteX0" fmla="*/ 939625 w 3539592"/>
                  <a:gd name="connsiteY0" fmla="*/ 119818 h 3324625"/>
                  <a:gd name="connsiteX1" fmla="*/ 863950 w 3539592"/>
                  <a:gd name="connsiteY1" fmla="*/ 1696370 h 3324625"/>
                  <a:gd name="connsiteX2" fmla="*/ 0 w 3539592"/>
                  <a:gd name="connsiteY2" fmla="*/ 3241391 h 3324625"/>
                  <a:gd name="connsiteX3" fmla="*/ 1992761 w 3539592"/>
                  <a:gd name="connsiteY3" fmla="*/ 3317065 h 3324625"/>
                  <a:gd name="connsiteX4" fmla="*/ 2768425 w 3539592"/>
                  <a:gd name="connsiteY4" fmla="*/ 3323371 h 3324625"/>
                  <a:gd name="connsiteX5" fmla="*/ 2818874 w 3539592"/>
                  <a:gd name="connsiteY5" fmla="*/ 3317065 h 3324625"/>
                  <a:gd name="connsiteX6" fmla="*/ 2850405 w 3539592"/>
                  <a:gd name="connsiteY6" fmla="*/ 3291840 h 3324625"/>
                  <a:gd name="connsiteX7" fmla="*/ 2957611 w 3539592"/>
                  <a:gd name="connsiteY7" fmla="*/ 3172022 h 3324625"/>
                  <a:gd name="connsiteX8" fmla="*/ 3228778 w 3539592"/>
                  <a:gd name="connsiteY8" fmla="*/ 2635995 h 3324625"/>
                  <a:gd name="connsiteX9" fmla="*/ 3373821 w 3539592"/>
                  <a:gd name="connsiteY9" fmla="*/ 2245010 h 3324625"/>
                  <a:gd name="connsiteX10" fmla="*/ 3481026 w 3539592"/>
                  <a:gd name="connsiteY10" fmla="*/ 1809882 h 3324625"/>
                  <a:gd name="connsiteX11" fmla="*/ 3512557 w 3539592"/>
                  <a:gd name="connsiteY11" fmla="*/ 245942 h 3324625"/>
                  <a:gd name="connsiteX12" fmla="*/ 3481026 w 3539592"/>
                  <a:gd name="connsiteY12" fmla="*/ 94593 h 3324625"/>
                  <a:gd name="connsiteX13" fmla="*/ 3462108 w 3539592"/>
                  <a:gd name="connsiteY13" fmla="*/ 37838 h 3324625"/>
                  <a:gd name="connsiteX14" fmla="*/ 3417964 w 3539592"/>
                  <a:gd name="connsiteY14" fmla="*/ 12613 h 3324625"/>
                  <a:gd name="connsiteX15" fmla="*/ 3335983 w 3539592"/>
                  <a:gd name="connsiteY15" fmla="*/ 0 h 3324625"/>
                  <a:gd name="connsiteX16" fmla="*/ 3216165 w 3539592"/>
                  <a:gd name="connsiteY16" fmla="*/ 6307 h 3324625"/>
                  <a:gd name="connsiteX17" fmla="*/ 3146797 w 3539592"/>
                  <a:gd name="connsiteY17" fmla="*/ 18919 h 3324625"/>
                  <a:gd name="connsiteX18" fmla="*/ 2976530 w 3539592"/>
                  <a:gd name="connsiteY18" fmla="*/ 138737 h 3324625"/>
                  <a:gd name="connsiteX19" fmla="*/ 2869324 w 3539592"/>
                  <a:gd name="connsiteY19" fmla="*/ 245942 h 3324625"/>
                  <a:gd name="connsiteX20" fmla="*/ 2787343 w 3539592"/>
                  <a:gd name="connsiteY20" fmla="*/ 346842 h 3324625"/>
                  <a:gd name="connsiteX21" fmla="*/ 2793650 w 3539592"/>
                  <a:gd name="connsiteY21" fmla="*/ 309004 h 3324625"/>
                  <a:gd name="connsiteX22" fmla="*/ 2781037 w 3539592"/>
                  <a:gd name="connsiteY22" fmla="*/ 163962 h 3324625"/>
                  <a:gd name="connsiteX23" fmla="*/ 2774731 w 3539592"/>
                  <a:gd name="connsiteY23" fmla="*/ 145043 h 3324625"/>
                  <a:gd name="connsiteX24" fmla="*/ 2749506 w 3539592"/>
                  <a:gd name="connsiteY24" fmla="*/ 107206 h 3324625"/>
                  <a:gd name="connsiteX25" fmla="*/ 2699057 w 3539592"/>
                  <a:gd name="connsiteY25" fmla="*/ 56756 h 3324625"/>
                  <a:gd name="connsiteX26" fmla="*/ 2554014 w 3539592"/>
                  <a:gd name="connsiteY26" fmla="*/ 18919 h 3324625"/>
                  <a:gd name="connsiteX27" fmla="*/ 964850 w 3539592"/>
                  <a:gd name="connsiteY27" fmla="*/ 31531 h 3324625"/>
                  <a:gd name="connsiteX28" fmla="*/ 920706 w 3539592"/>
                  <a:gd name="connsiteY28" fmla="*/ 69369 h 3324625"/>
                  <a:gd name="connsiteX29" fmla="*/ 927012 w 3539592"/>
                  <a:gd name="connsiteY29" fmla="*/ 88287 h 3324625"/>
                  <a:gd name="connsiteX30" fmla="*/ 939625 w 3539592"/>
                  <a:gd name="connsiteY30" fmla="*/ 119818 h 3324625"/>
                  <a:gd name="connsiteX0" fmla="*/ 960959 w 3560926"/>
                  <a:gd name="connsiteY0" fmla="*/ 119818 h 3496093"/>
                  <a:gd name="connsiteX1" fmla="*/ 21334 w 3560926"/>
                  <a:gd name="connsiteY1" fmla="*/ 3241391 h 3496093"/>
                  <a:gd name="connsiteX2" fmla="*/ 2014095 w 3560926"/>
                  <a:gd name="connsiteY2" fmla="*/ 3317065 h 3496093"/>
                  <a:gd name="connsiteX3" fmla="*/ 2789759 w 3560926"/>
                  <a:gd name="connsiteY3" fmla="*/ 3323371 h 3496093"/>
                  <a:gd name="connsiteX4" fmla="*/ 2840208 w 3560926"/>
                  <a:gd name="connsiteY4" fmla="*/ 3317065 h 3496093"/>
                  <a:gd name="connsiteX5" fmla="*/ 2871739 w 3560926"/>
                  <a:gd name="connsiteY5" fmla="*/ 3291840 h 3496093"/>
                  <a:gd name="connsiteX6" fmla="*/ 2978945 w 3560926"/>
                  <a:gd name="connsiteY6" fmla="*/ 3172022 h 3496093"/>
                  <a:gd name="connsiteX7" fmla="*/ 3250112 w 3560926"/>
                  <a:gd name="connsiteY7" fmla="*/ 2635995 h 3496093"/>
                  <a:gd name="connsiteX8" fmla="*/ 3395155 w 3560926"/>
                  <a:gd name="connsiteY8" fmla="*/ 2245010 h 3496093"/>
                  <a:gd name="connsiteX9" fmla="*/ 3502360 w 3560926"/>
                  <a:gd name="connsiteY9" fmla="*/ 1809882 h 3496093"/>
                  <a:gd name="connsiteX10" fmla="*/ 3533891 w 3560926"/>
                  <a:gd name="connsiteY10" fmla="*/ 245942 h 3496093"/>
                  <a:gd name="connsiteX11" fmla="*/ 3502360 w 3560926"/>
                  <a:gd name="connsiteY11" fmla="*/ 94593 h 3496093"/>
                  <a:gd name="connsiteX12" fmla="*/ 3483442 w 3560926"/>
                  <a:gd name="connsiteY12" fmla="*/ 37838 h 3496093"/>
                  <a:gd name="connsiteX13" fmla="*/ 3439298 w 3560926"/>
                  <a:gd name="connsiteY13" fmla="*/ 12613 h 3496093"/>
                  <a:gd name="connsiteX14" fmla="*/ 3357317 w 3560926"/>
                  <a:gd name="connsiteY14" fmla="*/ 0 h 3496093"/>
                  <a:gd name="connsiteX15" fmla="*/ 3237499 w 3560926"/>
                  <a:gd name="connsiteY15" fmla="*/ 6307 h 3496093"/>
                  <a:gd name="connsiteX16" fmla="*/ 3168131 w 3560926"/>
                  <a:gd name="connsiteY16" fmla="*/ 18919 h 3496093"/>
                  <a:gd name="connsiteX17" fmla="*/ 2997864 w 3560926"/>
                  <a:gd name="connsiteY17" fmla="*/ 138737 h 3496093"/>
                  <a:gd name="connsiteX18" fmla="*/ 2890658 w 3560926"/>
                  <a:gd name="connsiteY18" fmla="*/ 245942 h 3496093"/>
                  <a:gd name="connsiteX19" fmla="*/ 2808677 w 3560926"/>
                  <a:gd name="connsiteY19" fmla="*/ 346842 h 3496093"/>
                  <a:gd name="connsiteX20" fmla="*/ 2814984 w 3560926"/>
                  <a:gd name="connsiteY20" fmla="*/ 309004 h 3496093"/>
                  <a:gd name="connsiteX21" fmla="*/ 2802371 w 3560926"/>
                  <a:gd name="connsiteY21" fmla="*/ 163962 h 3496093"/>
                  <a:gd name="connsiteX22" fmla="*/ 2796065 w 3560926"/>
                  <a:gd name="connsiteY22" fmla="*/ 145043 h 3496093"/>
                  <a:gd name="connsiteX23" fmla="*/ 2770840 w 3560926"/>
                  <a:gd name="connsiteY23" fmla="*/ 107206 h 3496093"/>
                  <a:gd name="connsiteX24" fmla="*/ 2720391 w 3560926"/>
                  <a:gd name="connsiteY24" fmla="*/ 56756 h 3496093"/>
                  <a:gd name="connsiteX25" fmla="*/ 2575348 w 3560926"/>
                  <a:gd name="connsiteY25" fmla="*/ 18919 h 3496093"/>
                  <a:gd name="connsiteX26" fmla="*/ 986184 w 3560926"/>
                  <a:gd name="connsiteY26" fmla="*/ 31531 h 3496093"/>
                  <a:gd name="connsiteX27" fmla="*/ 942040 w 3560926"/>
                  <a:gd name="connsiteY27" fmla="*/ 69369 h 3496093"/>
                  <a:gd name="connsiteX28" fmla="*/ 948346 w 3560926"/>
                  <a:gd name="connsiteY28" fmla="*/ 88287 h 3496093"/>
                  <a:gd name="connsiteX29" fmla="*/ 960959 w 3560926"/>
                  <a:gd name="connsiteY29" fmla="*/ 119818 h 3496093"/>
                  <a:gd name="connsiteX0" fmla="*/ 949022 w 3561602"/>
                  <a:gd name="connsiteY0" fmla="*/ 238525 h 3648653"/>
                  <a:gd name="connsiteX1" fmla="*/ 22010 w 3561602"/>
                  <a:gd name="connsiteY1" fmla="*/ 3391629 h 3648653"/>
                  <a:gd name="connsiteX2" fmla="*/ 2014771 w 3561602"/>
                  <a:gd name="connsiteY2" fmla="*/ 3467303 h 3648653"/>
                  <a:gd name="connsiteX3" fmla="*/ 2790435 w 3561602"/>
                  <a:gd name="connsiteY3" fmla="*/ 3473609 h 3648653"/>
                  <a:gd name="connsiteX4" fmla="*/ 2840884 w 3561602"/>
                  <a:gd name="connsiteY4" fmla="*/ 3467303 h 3648653"/>
                  <a:gd name="connsiteX5" fmla="*/ 2872415 w 3561602"/>
                  <a:gd name="connsiteY5" fmla="*/ 3442078 h 3648653"/>
                  <a:gd name="connsiteX6" fmla="*/ 2979621 w 3561602"/>
                  <a:gd name="connsiteY6" fmla="*/ 3322260 h 3648653"/>
                  <a:gd name="connsiteX7" fmla="*/ 3250788 w 3561602"/>
                  <a:gd name="connsiteY7" fmla="*/ 2786233 h 3648653"/>
                  <a:gd name="connsiteX8" fmla="*/ 3395831 w 3561602"/>
                  <a:gd name="connsiteY8" fmla="*/ 2395248 h 3648653"/>
                  <a:gd name="connsiteX9" fmla="*/ 3503036 w 3561602"/>
                  <a:gd name="connsiteY9" fmla="*/ 1960120 h 3648653"/>
                  <a:gd name="connsiteX10" fmla="*/ 3534567 w 3561602"/>
                  <a:gd name="connsiteY10" fmla="*/ 396180 h 3648653"/>
                  <a:gd name="connsiteX11" fmla="*/ 3503036 w 3561602"/>
                  <a:gd name="connsiteY11" fmla="*/ 244831 h 3648653"/>
                  <a:gd name="connsiteX12" fmla="*/ 3484118 w 3561602"/>
                  <a:gd name="connsiteY12" fmla="*/ 188076 h 3648653"/>
                  <a:gd name="connsiteX13" fmla="*/ 3439974 w 3561602"/>
                  <a:gd name="connsiteY13" fmla="*/ 162851 h 3648653"/>
                  <a:gd name="connsiteX14" fmla="*/ 3357993 w 3561602"/>
                  <a:gd name="connsiteY14" fmla="*/ 150238 h 3648653"/>
                  <a:gd name="connsiteX15" fmla="*/ 3238175 w 3561602"/>
                  <a:gd name="connsiteY15" fmla="*/ 156545 h 3648653"/>
                  <a:gd name="connsiteX16" fmla="*/ 3168807 w 3561602"/>
                  <a:gd name="connsiteY16" fmla="*/ 169157 h 3648653"/>
                  <a:gd name="connsiteX17" fmla="*/ 2998540 w 3561602"/>
                  <a:gd name="connsiteY17" fmla="*/ 288975 h 3648653"/>
                  <a:gd name="connsiteX18" fmla="*/ 2891334 w 3561602"/>
                  <a:gd name="connsiteY18" fmla="*/ 396180 h 3648653"/>
                  <a:gd name="connsiteX19" fmla="*/ 2809353 w 3561602"/>
                  <a:gd name="connsiteY19" fmla="*/ 497080 h 3648653"/>
                  <a:gd name="connsiteX20" fmla="*/ 2815660 w 3561602"/>
                  <a:gd name="connsiteY20" fmla="*/ 459242 h 3648653"/>
                  <a:gd name="connsiteX21" fmla="*/ 2803047 w 3561602"/>
                  <a:gd name="connsiteY21" fmla="*/ 314200 h 3648653"/>
                  <a:gd name="connsiteX22" fmla="*/ 2796741 w 3561602"/>
                  <a:gd name="connsiteY22" fmla="*/ 295281 h 3648653"/>
                  <a:gd name="connsiteX23" fmla="*/ 2771516 w 3561602"/>
                  <a:gd name="connsiteY23" fmla="*/ 257444 h 3648653"/>
                  <a:gd name="connsiteX24" fmla="*/ 2721067 w 3561602"/>
                  <a:gd name="connsiteY24" fmla="*/ 206994 h 3648653"/>
                  <a:gd name="connsiteX25" fmla="*/ 2576024 w 3561602"/>
                  <a:gd name="connsiteY25" fmla="*/ 169157 h 3648653"/>
                  <a:gd name="connsiteX26" fmla="*/ 986860 w 3561602"/>
                  <a:gd name="connsiteY26" fmla="*/ 181769 h 3648653"/>
                  <a:gd name="connsiteX27" fmla="*/ 942716 w 3561602"/>
                  <a:gd name="connsiteY27" fmla="*/ 219607 h 3648653"/>
                  <a:gd name="connsiteX28" fmla="*/ 949022 w 3561602"/>
                  <a:gd name="connsiteY28" fmla="*/ 238525 h 3648653"/>
                  <a:gd name="connsiteX0" fmla="*/ 943220 w 3562106"/>
                  <a:gd name="connsiteY0" fmla="*/ 69369 h 3499809"/>
                  <a:gd name="connsiteX1" fmla="*/ 22514 w 3562106"/>
                  <a:gd name="connsiteY1" fmla="*/ 3241391 h 3499809"/>
                  <a:gd name="connsiteX2" fmla="*/ 2015275 w 3562106"/>
                  <a:gd name="connsiteY2" fmla="*/ 3317065 h 3499809"/>
                  <a:gd name="connsiteX3" fmla="*/ 2790939 w 3562106"/>
                  <a:gd name="connsiteY3" fmla="*/ 3323371 h 3499809"/>
                  <a:gd name="connsiteX4" fmla="*/ 2841388 w 3562106"/>
                  <a:gd name="connsiteY4" fmla="*/ 3317065 h 3499809"/>
                  <a:gd name="connsiteX5" fmla="*/ 2872919 w 3562106"/>
                  <a:gd name="connsiteY5" fmla="*/ 3291840 h 3499809"/>
                  <a:gd name="connsiteX6" fmla="*/ 2980125 w 3562106"/>
                  <a:gd name="connsiteY6" fmla="*/ 3172022 h 3499809"/>
                  <a:gd name="connsiteX7" fmla="*/ 3251292 w 3562106"/>
                  <a:gd name="connsiteY7" fmla="*/ 2635995 h 3499809"/>
                  <a:gd name="connsiteX8" fmla="*/ 3396335 w 3562106"/>
                  <a:gd name="connsiteY8" fmla="*/ 2245010 h 3499809"/>
                  <a:gd name="connsiteX9" fmla="*/ 3503540 w 3562106"/>
                  <a:gd name="connsiteY9" fmla="*/ 1809882 h 3499809"/>
                  <a:gd name="connsiteX10" fmla="*/ 3535071 w 3562106"/>
                  <a:gd name="connsiteY10" fmla="*/ 245942 h 3499809"/>
                  <a:gd name="connsiteX11" fmla="*/ 3503540 w 3562106"/>
                  <a:gd name="connsiteY11" fmla="*/ 94593 h 3499809"/>
                  <a:gd name="connsiteX12" fmla="*/ 3484622 w 3562106"/>
                  <a:gd name="connsiteY12" fmla="*/ 37838 h 3499809"/>
                  <a:gd name="connsiteX13" fmla="*/ 3440478 w 3562106"/>
                  <a:gd name="connsiteY13" fmla="*/ 12613 h 3499809"/>
                  <a:gd name="connsiteX14" fmla="*/ 3358497 w 3562106"/>
                  <a:gd name="connsiteY14" fmla="*/ 0 h 3499809"/>
                  <a:gd name="connsiteX15" fmla="*/ 3238679 w 3562106"/>
                  <a:gd name="connsiteY15" fmla="*/ 6307 h 3499809"/>
                  <a:gd name="connsiteX16" fmla="*/ 3169311 w 3562106"/>
                  <a:gd name="connsiteY16" fmla="*/ 18919 h 3499809"/>
                  <a:gd name="connsiteX17" fmla="*/ 2999044 w 3562106"/>
                  <a:gd name="connsiteY17" fmla="*/ 138737 h 3499809"/>
                  <a:gd name="connsiteX18" fmla="*/ 2891838 w 3562106"/>
                  <a:gd name="connsiteY18" fmla="*/ 245942 h 3499809"/>
                  <a:gd name="connsiteX19" fmla="*/ 2809857 w 3562106"/>
                  <a:gd name="connsiteY19" fmla="*/ 346842 h 3499809"/>
                  <a:gd name="connsiteX20" fmla="*/ 2816164 w 3562106"/>
                  <a:gd name="connsiteY20" fmla="*/ 309004 h 3499809"/>
                  <a:gd name="connsiteX21" fmla="*/ 2803551 w 3562106"/>
                  <a:gd name="connsiteY21" fmla="*/ 163962 h 3499809"/>
                  <a:gd name="connsiteX22" fmla="*/ 2797245 w 3562106"/>
                  <a:gd name="connsiteY22" fmla="*/ 145043 h 3499809"/>
                  <a:gd name="connsiteX23" fmla="*/ 2772020 w 3562106"/>
                  <a:gd name="connsiteY23" fmla="*/ 107206 h 3499809"/>
                  <a:gd name="connsiteX24" fmla="*/ 2721571 w 3562106"/>
                  <a:gd name="connsiteY24" fmla="*/ 56756 h 3499809"/>
                  <a:gd name="connsiteX25" fmla="*/ 2576528 w 3562106"/>
                  <a:gd name="connsiteY25" fmla="*/ 18919 h 3499809"/>
                  <a:gd name="connsiteX26" fmla="*/ 987364 w 3562106"/>
                  <a:gd name="connsiteY26" fmla="*/ 31531 h 3499809"/>
                  <a:gd name="connsiteX27" fmla="*/ 943220 w 3562106"/>
                  <a:gd name="connsiteY27" fmla="*/ 69369 h 3499809"/>
                  <a:gd name="connsiteX0" fmla="*/ 991000 w 3565742"/>
                  <a:gd name="connsiteY0" fmla="*/ 241062 h 3712127"/>
                  <a:gd name="connsiteX1" fmla="*/ 26150 w 3565742"/>
                  <a:gd name="connsiteY1" fmla="*/ 3450922 h 3712127"/>
                  <a:gd name="connsiteX2" fmla="*/ 2018911 w 3565742"/>
                  <a:gd name="connsiteY2" fmla="*/ 3526596 h 3712127"/>
                  <a:gd name="connsiteX3" fmla="*/ 2794575 w 3565742"/>
                  <a:gd name="connsiteY3" fmla="*/ 3532902 h 3712127"/>
                  <a:gd name="connsiteX4" fmla="*/ 2845024 w 3565742"/>
                  <a:gd name="connsiteY4" fmla="*/ 3526596 h 3712127"/>
                  <a:gd name="connsiteX5" fmla="*/ 2876555 w 3565742"/>
                  <a:gd name="connsiteY5" fmla="*/ 3501371 h 3712127"/>
                  <a:gd name="connsiteX6" fmla="*/ 2983761 w 3565742"/>
                  <a:gd name="connsiteY6" fmla="*/ 3381553 h 3712127"/>
                  <a:gd name="connsiteX7" fmla="*/ 3254928 w 3565742"/>
                  <a:gd name="connsiteY7" fmla="*/ 2845526 h 3712127"/>
                  <a:gd name="connsiteX8" fmla="*/ 3399971 w 3565742"/>
                  <a:gd name="connsiteY8" fmla="*/ 2454541 h 3712127"/>
                  <a:gd name="connsiteX9" fmla="*/ 3507176 w 3565742"/>
                  <a:gd name="connsiteY9" fmla="*/ 2019413 h 3712127"/>
                  <a:gd name="connsiteX10" fmla="*/ 3538707 w 3565742"/>
                  <a:gd name="connsiteY10" fmla="*/ 455473 h 3712127"/>
                  <a:gd name="connsiteX11" fmla="*/ 3507176 w 3565742"/>
                  <a:gd name="connsiteY11" fmla="*/ 304124 h 3712127"/>
                  <a:gd name="connsiteX12" fmla="*/ 3488258 w 3565742"/>
                  <a:gd name="connsiteY12" fmla="*/ 247369 h 3712127"/>
                  <a:gd name="connsiteX13" fmla="*/ 3444114 w 3565742"/>
                  <a:gd name="connsiteY13" fmla="*/ 222144 h 3712127"/>
                  <a:gd name="connsiteX14" fmla="*/ 3362133 w 3565742"/>
                  <a:gd name="connsiteY14" fmla="*/ 209531 h 3712127"/>
                  <a:gd name="connsiteX15" fmla="*/ 3242315 w 3565742"/>
                  <a:gd name="connsiteY15" fmla="*/ 215838 h 3712127"/>
                  <a:gd name="connsiteX16" fmla="*/ 3172947 w 3565742"/>
                  <a:gd name="connsiteY16" fmla="*/ 228450 h 3712127"/>
                  <a:gd name="connsiteX17" fmla="*/ 3002680 w 3565742"/>
                  <a:gd name="connsiteY17" fmla="*/ 348268 h 3712127"/>
                  <a:gd name="connsiteX18" fmla="*/ 2895474 w 3565742"/>
                  <a:gd name="connsiteY18" fmla="*/ 455473 h 3712127"/>
                  <a:gd name="connsiteX19" fmla="*/ 2813493 w 3565742"/>
                  <a:gd name="connsiteY19" fmla="*/ 556373 h 3712127"/>
                  <a:gd name="connsiteX20" fmla="*/ 2819800 w 3565742"/>
                  <a:gd name="connsiteY20" fmla="*/ 518535 h 3712127"/>
                  <a:gd name="connsiteX21" fmla="*/ 2807187 w 3565742"/>
                  <a:gd name="connsiteY21" fmla="*/ 373493 h 3712127"/>
                  <a:gd name="connsiteX22" fmla="*/ 2800881 w 3565742"/>
                  <a:gd name="connsiteY22" fmla="*/ 354574 h 3712127"/>
                  <a:gd name="connsiteX23" fmla="*/ 2775656 w 3565742"/>
                  <a:gd name="connsiteY23" fmla="*/ 316737 h 3712127"/>
                  <a:gd name="connsiteX24" fmla="*/ 2725207 w 3565742"/>
                  <a:gd name="connsiteY24" fmla="*/ 266287 h 3712127"/>
                  <a:gd name="connsiteX25" fmla="*/ 2580164 w 3565742"/>
                  <a:gd name="connsiteY25" fmla="*/ 228450 h 3712127"/>
                  <a:gd name="connsiteX26" fmla="*/ 991000 w 3565742"/>
                  <a:gd name="connsiteY26" fmla="*/ 241062 h 3712127"/>
                  <a:gd name="connsiteX0" fmla="*/ 991000 w 3565742"/>
                  <a:gd name="connsiteY0" fmla="*/ 241062 h 3712127"/>
                  <a:gd name="connsiteX1" fmla="*/ 26150 w 3565742"/>
                  <a:gd name="connsiteY1" fmla="*/ 3450922 h 3712127"/>
                  <a:gd name="connsiteX2" fmla="*/ 2018911 w 3565742"/>
                  <a:gd name="connsiteY2" fmla="*/ 3526596 h 3712127"/>
                  <a:gd name="connsiteX3" fmla="*/ 2794575 w 3565742"/>
                  <a:gd name="connsiteY3" fmla="*/ 3532902 h 3712127"/>
                  <a:gd name="connsiteX4" fmla="*/ 2845024 w 3565742"/>
                  <a:gd name="connsiteY4" fmla="*/ 3526596 h 3712127"/>
                  <a:gd name="connsiteX5" fmla="*/ 2876555 w 3565742"/>
                  <a:gd name="connsiteY5" fmla="*/ 3501371 h 3712127"/>
                  <a:gd name="connsiteX6" fmla="*/ 2983761 w 3565742"/>
                  <a:gd name="connsiteY6" fmla="*/ 3381553 h 3712127"/>
                  <a:gd name="connsiteX7" fmla="*/ 3254928 w 3565742"/>
                  <a:gd name="connsiteY7" fmla="*/ 2845526 h 3712127"/>
                  <a:gd name="connsiteX8" fmla="*/ 3399971 w 3565742"/>
                  <a:gd name="connsiteY8" fmla="*/ 2454541 h 3712127"/>
                  <a:gd name="connsiteX9" fmla="*/ 3507176 w 3565742"/>
                  <a:gd name="connsiteY9" fmla="*/ 2019413 h 3712127"/>
                  <a:gd name="connsiteX10" fmla="*/ 3538707 w 3565742"/>
                  <a:gd name="connsiteY10" fmla="*/ 455473 h 3712127"/>
                  <a:gd name="connsiteX11" fmla="*/ 3507176 w 3565742"/>
                  <a:gd name="connsiteY11" fmla="*/ 304124 h 3712127"/>
                  <a:gd name="connsiteX12" fmla="*/ 3488258 w 3565742"/>
                  <a:gd name="connsiteY12" fmla="*/ 247369 h 3712127"/>
                  <a:gd name="connsiteX13" fmla="*/ 3444114 w 3565742"/>
                  <a:gd name="connsiteY13" fmla="*/ 222144 h 3712127"/>
                  <a:gd name="connsiteX14" fmla="*/ 3362133 w 3565742"/>
                  <a:gd name="connsiteY14" fmla="*/ 209531 h 3712127"/>
                  <a:gd name="connsiteX15" fmla="*/ 3242315 w 3565742"/>
                  <a:gd name="connsiteY15" fmla="*/ 215838 h 3712127"/>
                  <a:gd name="connsiteX16" fmla="*/ 3172947 w 3565742"/>
                  <a:gd name="connsiteY16" fmla="*/ 228450 h 3712127"/>
                  <a:gd name="connsiteX17" fmla="*/ 3002680 w 3565742"/>
                  <a:gd name="connsiteY17" fmla="*/ 348268 h 3712127"/>
                  <a:gd name="connsiteX18" fmla="*/ 2895474 w 3565742"/>
                  <a:gd name="connsiteY18" fmla="*/ 455473 h 3712127"/>
                  <a:gd name="connsiteX19" fmla="*/ 2813493 w 3565742"/>
                  <a:gd name="connsiteY19" fmla="*/ 556373 h 3712127"/>
                  <a:gd name="connsiteX20" fmla="*/ 2819800 w 3565742"/>
                  <a:gd name="connsiteY20" fmla="*/ 518535 h 3712127"/>
                  <a:gd name="connsiteX21" fmla="*/ 2807187 w 3565742"/>
                  <a:gd name="connsiteY21" fmla="*/ 373493 h 3712127"/>
                  <a:gd name="connsiteX22" fmla="*/ 2800881 w 3565742"/>
                  <a:gd name="connsiteY22" fmla="*/ 354574 h 3712127"/>
                  <a:gd name="connsiteX23" fmla="*/ 2775656 w 3565742"/>
                  <a:gd name="connsiteY23" fmla="*/ 316737 h 3712127"/>
                  <a:gd name="connsiteX24" fmla="*/ 2725207 w 3565742"/>
                  <a:gd name="connsiteY24" fmla="*/ 266287 h 3712127"/>
                  <a:gd name="connsiteX25" fmla="*/ 2580164 w 3565742"/>
                  <a:gd name="connsiteY25" fmla="*/ 228450 h 3712127"/>
                  <a:gd name="connsiteX26" fmla="*/ 991000 w 3565742"/>
                  <a:gd name="connsiteY26" fmla="*/ 241062 h 3712127"/>
                  <a:gd name="connsiteX0" fmla="*/ 980278 w 3555020"/>
                  <a:gd name="connsiteY0" fmla="*/ 241062 h 3712127"/>
                  <a:gd name="connsiteX1" fmla="*/ 15428 w 3555020"/>
                  <a:gd name="connsiteY1" fmla="*/ 3450922 h 3712127"/>
                  <a:gd name="connsiteX2" fmla="*/ 2008189 w 3555020"/>
                  <a:gd name="connsiteY2" fmla="*/ 3526596 h 3712127"/>
                  <a:gd name="connsiteX3" fmla="*/ 2783853 w 3555020"/>
                  <a:gd name="connsiteY3" fmla="*/ 3532902 h 3712127"/>
                  <a:gd name="connsiteX4" fmla="*/ 2834302 w 3555020"/>
                  <a:gd name="connsiteY4" fmla="*/ 3526596 h 3712127"/>
                  <a:gd name="connsiteX5" fmla="*/ 2865833 w 3555020"/>
                  <a:gd name="connsiteY5" fmla="*/ 3501371 h 3712127"/>
                  <a:gd name="connsiteX6" fmla="*/ 2973039 w 3555020"/>
                  <a:gd name="connsiteY6" fmla="*/ 3381553 h 3712127"/>
                  <a:gd name="connsiteX7" fmla="*/ 3244206 w 3555020"/>
                  <a:gd name="connsiteY7" fmla="*/ 2845526 h 3712127"/>
                  <a:gd name="connsiteX8" fmla="*/ 3389249 w 3555020"/>
                  <a:gd name="connsiteY8" fmla="*/ 2454541 h 3712127"/>
                  <a:gd name="connsiteX9" fmla="*/ 3496454 w 3555020"/>
                  <a:gd name="connsiteY9" fmla="*/ 2019413 h 3712127"/>
                  <a:gd name="connsiteX10" fmla="*/ 3527985 w 3555020"/>
                  <a:gd name="connsiteY10" fmla="*/ 455473 h 3712127"/>
                  <a:gd name="connsiteX11" fmla="*/ 3496454 w 3555020"/>
                  <a:gd name="connsiteY11" fmla="*/ 304124 h 3712127"/>
                  <a:gd name="connsiteX12" fmla="*/ 3477536 w 3555020"/>
                  <a:gd name="connsiteY12" fmla="*/ 247369 h 3712127"/>
                  <a:gd name="connsiteX13" fmla="*/ 3433392 w 3555020"/>
                  <a:gd name="connsiteY13" fmla="*/ 222144 h 3712127"/>
                  <a:gd name="connsiteX14" fmla="*/ 3351411 w 3555020"/>
                  <a:gd name="connsiteY14" fmla="*/ 209531 h 3712127"/>
                  <a:gd name="connsiteX15" fmla="*/ 3231593 w 3555020"/>
                  <a:gd name="connsiteY15" fmla="*/ 215838 h 3712127"/>
                  <a:gd name="connsiteX16" fmla="*/ 3162225 w 3555020"/>
                  <a:gd name="connsiteY16" fmla="*/ 228450 h 3712127"/>
                  <a:gd name="connsiteX17" fmla="*/ 2991958 w 3555020"/>
                  <a:gd name="connsiteY17" fmla="*/ 348268 h 3712127"/>
                  <a:gd name="connsiteX18" fmla="*/ 2884752 w 3555020"/>
                  <a:gd name="connsiteY18" fmla="*/ 455473 h 3712127"/>
                  <a:gd name="connsiteX19" fmla="*/ 2802771 w 3555020"/>
                  <a:gd name="connsiteY19" fmla="*/ 556373 h 3712127"/>
                  <a:gd name="connsiteX20" fmla="*/ 2809078 w 3555020"/>
                  <a:gd name="connsiteY20" fmla="*/ 518535 h 3712127"/>
                  <a:gd name="connsiteX21" fmla="*/ 2796465 w 3555020"/>
                  <a:gd name="connsiteY21" fmla="*/ 373493 h 3712127"/>
                  <a:gd name="connsiteX22" fmla="*/ 2790159 w 3555020"/>
                  <a:gd name="connsiteY22" fmla="*/ 354574 h 3712127"/>
                  <a:gd name="connsiteX23" fmla="*/ 2764934 w 3555020"/>
                  <a:gd name="connsiteY23" fmla="*/ 316737 h 3712127"/>
                  <a:gd name="connsiteX24" fmla="*/ 2714485 w 3555020"/>
                  <a:gd name="connsiteY24" fmla="*/ 266287 h 3712127"/>
                  <a:gd name="connsiteX25" fmla="*/ 2569442 w 3555020"/>
                  <a:gd name="connsiteY25" fmla="*/ 228450 h 3712127"/>
                  <a:gd name="connsiteX26" fmla="*/ 980278 w 3555020"/>
                  <a:gd name="connsiteY26" fmla="*/ 241062 h 3712127"/>
                  <a:gd name="connsiteX0" fmla="*/ 964850 w 3539592"/>
                  <a:gd name="connsiteY0" fmla="*/ 241062 h 3712127"/>
                  <a:gd name="connsiteX1" fmla="*/ 0 w 3539592"/>
                  <a:gd name="connsiteY1" fmla="*/ 3450922 h 3712127"/>
                  <a:gd name="connsiteX2" fmla="*/ 1992761 w 3539592"/>
                  <a:gd name="connsiteY2" fmla="*/ 3526596 h 3712127"/>
                  <a:gd name="connsiteX3" fmla="*/ 2768425 w 3539592"/>
                  <a:gd name="connsiteY3" fmla="*/ 3532902 h 3712127"/>
                  <a:gd name="connsiteX4" fmla="*/ 2818874 w 3539592"/>
                  <a:gd name="connsiteY4" fmla="*/ 3526596 h 3712127"/>
                  <a:gd name="connsiteX5" fmla="*/ 2850405 w 3539592"/>
                  <a:gd name="connsiteY5" fmla="*/ 3501371 h 3712127"/>
                  <a:gd name="connsiteX6" fmla="*/ 2957611 w 3539592"/>
                  <a:gd name="connsiteY6" fmla="*/ 3381553 h 3712127"/>
                  <a:gd name="connsiteX7" fmla="*/ 3228778 w 3539592"/>
                  <a:gd name="connsiteY7" fmla="*/ 2845526 h 3712127"/>
                  <a:gd name="connsiteX8" fmla="*/ 3373821 w 3539592"/>
                  <a:gd name="connsiteY8" fmla="*/ 2454541 h 3712127"/>
                  <a:gd name="connsiteX9" fmla="*/ 3481026 w 3539592"/>
                  <a:gd name="connsiteY9" fmla="*/ 2019413 h 3712127"/>
                  <a:gd name="connsiteX10" fmla="*/ 3512557 w 3539592"/>
                  <a:gd name="connsiteY10" fmla="*/ 455473 h 3712127"/>
                  <a:gd name="connsiteX11" fmla="*/ 3481026 w 3539592"/>
                  <a:gd name="connsiteY11" fmla="*/ 304124 h 3712127"/>
                  <a:gd name="connsiteX12" fmla="*/ 3462108 w 3539592"/>
                  <a:gd name="connsiteY12" fmla="*/ 247369 h 3712127"/>
                  <a:gd name="connsiteX13" fmla="*/ 3417964 w 3539592"/>
                  <a:gd name="connsiteY13" fmla="*/ 222144 h 3712127"/>
                  <a:gd name="connsiteX14" fmla="*/ 3335983 w 3539592"/>
                  <a:gd name="connsiteY14" fmla="*/ 209531 h 3712127"/>
                  <a:gd name="connsiteX15" fmla="*/ 3216165 w 3539592"/>
                  <a:gd name="connsiteY15" fmla="*/ 215838 h 3712127"/>
                  <a:gd name="connsiteX16" fmla="*/ 3146797 w 3539592"/>
                  <a:gd name="connsiteY16" fmla="*/ 228450 h 3712127"/>
                  <a:gd name="connsiteX17" fmla="*/ 2976530 w 3539592"/>
                  <a:gd name="connsiteY17" fmla="*/ 348268 h 3712127"/>
                  <a:gd name="connsiteX18" fmla="*/ 2869324 w 3539592"/>
                  <a:gd name="connsiteY18" fmla="*/ 455473 h 3712127"/>
                  <a:gd name="connsiteX19" fmla="*/ 2787343 w 3539592"/>
                  <a:gd name="connsiteY19" fmla="*/ 556373 h 3712127"/>
                  <a:gd name="connsiteX20" fmla="*/ 2793650 w 3539592"/>
                  <a:gd name="connsiteY20" fmla="*/ 518535 h 3712127"/>
                  <a:gd name="connsiteX21" fmla="*/ 2781037 w 3539592"/>
                  <a:gd name="connsiteY21" fmla="*/ 373493 h 3712127"/>
                  <a:gd name="connsiteX22" fmla="*/ 2774731 w 3539592"/>
                  <a:gd name="connsiteY22" fmla="*/ 354574 h 3712127"/>
                  <a:gd name="connsiteX23" fmla="*/ 2749506 w 3539592"/>
                  <a:gd name="connsiteY23" fmla="*/ 316737 h 3712127"/>
                  <a:gd name="connsiteX24" fmla="*/ 2699057 w 3539592"/>
                  <a:gd name="connsiteY24" fmla="*/ 266287 h 3712127"/>
                  <a:gd name="connsiteX25" fmla="*/ 2554014 w 3539592"/>
                  <a:gd name="connsiteY25" fmla="*/ 228450 h 3712127"/>
                  <a:gd name="connsiteX26" fmla="*/ 964850 w 3539592"/>
                  <a:gd name="connsiteY26" fmla="*/ 241062 h 3712127"/>
                  <a:gd name="connsiteX0" fmla="*/ 964850 w 3539592"/>
                  <a:gd name="connsiteY0" fmla="*/ 241062 h 3534156"/>
                  <a:gd name="connsiteX1" fmla="*/ 0 w 3539592"/>
                  <a:gd name="connsiteY1" fmla="*/ 3450922 h 3534156"/>
                  <a:gd name="connsiteX2" fmla="*/ 1992761 w 3539592"/>
                  <a:gd name="connsiteY2" fmla="*/ 3526596 h 3534156"/>
                  <a:gd name="connsiteX3" fmla="*/ 2768425 w 3539592"/>
                  <a:gd name="connsiteY3" fmla="*/ 3532902 h 3534156"/>
                  <a:gd name="connsiteX4" fmla="*/ 2818874 w 3539592"/>
                  <a:gd name="connsiteY4" fmla="*/ 3526596 h 3534156"/>
                  <a:gd name="connsiteX5" fmla="*/ 2850405 w 3539592"/>
                  <a:gd name="connsiteY5" fmla="*/ 3501371 h 3534156"/>
                  <a:gd name="connsiteX6" fmla="*/ 2957611 w 3539592"/>
                  <a:gd name="connsiteY6" fmla="*/ 3381553 h 3534156"/>
                  <a:gd name="connsiteX7" fmla="*/ 3228778 w 3539592"/>
                  <a:gd name="connsiteY7" fmla="*/ 2845526 h 3534156"/>
                  <a:gd name="connsiteX8" fmla="*/ 3373821 w 3539592"/>
                  <a:gd name="connsiteY8" fmla="*/ 2454541 h 3534156"/>
                  <a:gd name="connsiteX9" fmla="*/ 3481026 w 3539592"/>
                  <a:gd name="connsiteY9" fmla="*/ 2019413 h 3534156"/>
                  <a:gd name="connsiteX10" fmla="*/ 3512557 w 3539592"/>
                  <a:gd name="connsiteY10" fmla="*/ 455473 h 3534156"/>
                  <a:gd name="connsiteX11" fmla="*/ 3481026 w 3539592"/>
                  <a:gd name="connsiteY11" fmla="*/ 304124 h 3534156"/>
                  <a:gd name="connsiteX12" fmla="*/ 3462108 w 3539592"/>
                  <a:gd name="connsiteY12" fmla="*/ 247369 h 3534156"/>
                  <a:gd name="connsiteX13" fmla="*/ 3417964 w 3539592"/>
                  <a:gd name="connsiteY13" fmla="*/ 222144 h 3534156"/>
                  <a:gd name="connsiteX14" fmla="*/ 3335983 w 3539592"/>
                  <a:gd name="connsiteY14" fmla="*/ 209531 h 3534156"/>
                  <a:gd name="connsiteX15" fmla="*/ 3216165 w 3539592"/>
                  <a:gd name="connsiteY15" fmla="*/ 215838 h 3534156"/>
                  <a:gd name="connsiteX16" fmla="*/ 3146797 w 3539592"/>
                  <a:gd name="connsiteY16" fmla="*/ 228450 h 3534156"/>
                  <a:gd name="connsiteX17" fmla="*/ 2976530 w 3539592"/>
                  <a:gd name="connsiteY17" fmla="*/ 348268 h 3534156"/>
                  <a:gd name="connsiteX18" fmla="*/ 2869324 w 3539592"/>
                  <a:gd name="connsiteY18" fmla="*/ 455473 h 3534156"/>
                  <a:gd name="connsiteX19" fmla="*/ 2787343 w 3539592"/>
                  <a:gd name="connsiteY19" fmla="*/ 556373 h 3534156"/>
                  <a:gd name="connsiteX20" fmla="*/ 2793650 w 3539592"/>
                  <a:gd name="connsiteY20" fmla="*/ 518535 h 3534156"/>
                  <a:gd name="connsiteX21" fmla="*/ 2781037 w 3539592"/>
                  <a:gd name="connsiteY21" fmla="*/ 373493 h 3534156"/>
                  <a:gd name="connsiteX22" fmla="*/ 2774731 w 3539592"/>
                  <a:gd name="connsiteY22" fmla="*/ 354574 h 3534156"/>
                  <a:gd name="connsiteX23" fmla="*/ 2749506 w 3539592"/>
                  <a:gd name="connsiteY23" fmla="*/ 316737 h 3534156"/>
                  <a:gd name="connsiteX24" fmla="*/ 2699057 w 3539592"/>
                  <a:gd name="connsiteY24" fmla="*/ 266287 h 3534156"/>
                  <a:gd name="connsiteX25" fmla="*/ 2554014 w 3539592"/>
                  <a:gd name="connsiteY25" fmla="*/ 228450 h 3534156"/>
                  <a:gd name="connsiteX26" fmla="*/ 964850 w 3539592"/>
                  <a:gd name="connsiteY26" fmla="*/ 241062 h 3534156"/>
                  <a:gd name="connsiteX0" fmla="*/ 964850 w 3539592"/>
                  <a:gd name="connsiteY0" fmla="*/ 232230 h 3525324"/>
                  <a:gd name="connsiteX1" fmla="*/ 0 w 3539592"/>
                  <a:gd name="connsiteY1" fmla="*/ 3442090 h 3525324"/>
                  <a:gd name="connsiteX2" fmla="*/ 1992761 w 3539592"/>
                  <a:gd name="connsiteY2" fmla="*/ 3517764 h 3525324"/>
                  <a:gd name="connsiteX3" fmla="*/ 2768425 w 3539592"/>
                  <a:gd name="connsiteY3" fmla="*/ 3524070 h 3525324"/>
                  <a:gd name="connsiteX4" fmla="*/ 2818874 w 3539592"/>
                  <a:gd name="connsiteY4" fmla="*/ 3517764 h 3525324"/>
                  <a:gd name="connsiteX5" fmla="*/ 2850405 w 3539592"/>
                  <a:gd name="connsiteY5" fmla="*/ 3492539 h 3525324"/>
                  <a:gd name="connsiteX6" fmla="*/ 2957611 w 3539592"/>
                  <a:gd name="connsiteY6" fmla="*/ 3372721 h 3525324"/>
                  <a:gd name="connsiteX7" fmla="*/ 3228778 w 3539592"/>
                  <a:gd name="connsiteY7" fmla="*/ 2836694 h 3525324"/>
                  <a:gd name="connsiteX8" fmla="*/ 3373821 w 3539592"/>
                  <a:gd name="connsiteY8" fmla="*/ 2445709 h 3525324"/>
                  <a:gd name="connsiteX9" fmla="*/ 3481026 w 3539592"/>
                  <a:gd name="connsiteY9" fmla="*/ 2010581 h 3525324"/>
                  <a:gd name="connsiteX10" fmla="*/ 3512557 w 3539592"/>
                  <a:gd name="connsiteY10" fmla="*/ 446641 h 3525324"/>
                  <a:gd name="connsiteX11" fmla="*/ 3481026 w 3539592"/>
                  <a:gd name="connsiteY11" fmla="*/ 295292 h 3525324"/>
                  <a:gd name="connsiteX12" fmla="*/ 3462108 w 3539592"/>
                  <a:gd name="connsiteY12" fmla="*/ 238537 h 3525324"/>
                  <a:gd name="connsiteX13" fmla="*/ 3417964 w 3539592"/>
                  <a:gd name="connsiteY13" fmla="*/ 213312 h 3525324"/>
                  <a:gd name="connsiteX14" fmla="*/ 3335983 w 3539592"/>
                  <a:gd name="connsiteY14" fmla="*/ 200699 h 3525324"/>
                  <a:gd name="connsiteX15" fmla="*/ 3216165 w 3539592"/>
                  <a:gd name="connsiteY15" fmla="*/ 207006 h 3525324"/>
                  <a:gd name="connsiteX16" fmla="*/ 3146797 w 3539592"/>
                  <a:gd name="connsiteY16" fmla="*/ 219618 h 3525324"/>
                  <a:gd name="connsiteX17" fmla="*/ 2976530 w 3539592"/>
                  <a:gd name="connsiteY17" fmla="*/ 339436 h 3525324"/>
                  <a:gd name="connsiteX18" fmla="*/ 2869324 w 3539592"/>
                  <a:gd name="connsiteY18" fmla="*/ 446641 h 3525324"/>
                  <a:gd name="connsiteX19" fmla="*/ 2787343 w 3539592"/>
                  <a:gd name="connsiteY19" fmla="*/ 547541 h 3525324"/>
                  <a:gd name="connsiteX20" fmla="*/ 2793650 w 3539592"/>
                  <a:gd name="connsiteY20" fmla="*/ 509703 h 3525324"/>
                  <a:gd name="connsiteX21" fmla="*/ 2781037 w 3539592"/>
                  <a:gd name="connsiteY21" fmla="*/ 364661 h 3525324"/>
                  <a:gd name="connsiteX22" fmla="*/ 2774731 w 3539592"/>
                  <a:gd name="connsiteY22" fmla="*/ 345742 h 3525324"/>
                  <a:gd name="connsiteX23" fmla="*/ 2749506 w 3539592"/>
                  <a:gd name="connsiteY23" fmla="*/ 307905 h 3525324"/>
                  <a:gd name="connsiteX24" fmla="*/ 2699057 w 3539592"/>
                  <a:gd name="connsiteY24" fmla="*/ 257455 h 3525324"/>
                  <a:gd name="connsiteX25" fmla="*/ 964850 w 3539592"/>
                  <a:gd name="connsiteY25" fmla="*/ 232230 h 3525324"/>
                  <a:gd name="connsiteX0" fmla="*/ 964850 w 3539592"/>
                  <a:gd name="connsiteY0" fmla="*/ 217745 h 3510839"/>
                  <a:gd name="connsiteX1" fmla="*/ 0 w 3539592"/>
                  <a:gd name="connsiteY1" fmla="*/ 3427605 h 3510839"/>
                  <a:gd name="connsiteX2" fmla="*/ 1992761 w 3539592"/>
                  <a:gd name="connsiteY2" fmla="*/ 3503279 h 3510839"/>
                  <a:gd name="connsiteX3" fmla="*/ 2768425 w 3539592"/>
                  <a:gd name="connsiteY3" fmla="*/ 3509585 h 3510839"/>
                  <a:gd name="connsiteX4" fmla="*/ 2818874 w 3539592"/>
                  <a:gd name="connsiteY4" fmla="*/ 3503279 h 3510839"/>
                  <a:gd name="connsiteX5" fmla="*/ 2850405 w 3539592"/>
                  <a:gd name="connsiteY5" fmla="*/ 3478054 h 3510839"/>
                  <a:gd name="connsiteX6" fmla="*/ 2957611 w 3539592"/>
                  <a:gd name="connsiteY6" fmla="*/ 3358236 h 3510839"/>
                  <a:gd name="connsiteX7" fmla="*/ 3228778 w 3539592"/>
                  <a:gd name="connsiteY7" fmla="*/ 2822209 h 3510839"/>
                  <a:gd name="connsiteX8" fmla="*/ 3373821 w 3539592"/>
                  <a:gd name="connsiteY8" fmla="*/ 2431224 h 3510839"/>
                  <a:gd name="connsiteX9" fmla="*/ 3481026 w 3539592"/>
                  <a:gd name="connsiteY9" fmla="*/ 1996096 h 3510839"/>
                  <a:gd name="connsiteX10" fmla="*/ 3512557 w 3539592"/>
                  <a:gd name="connsiteY10" fmla="*/ 432156 h 3510839"/>
                  <a:gd name="connsiteX11" fmla="*/ 3481026 w 3539592"/>
                  <a:gd name="connsiteY11" fmla="*/ 280807 h 3510839"/>
                  <a:gd name="connsiteX12" fmla="*/ 3462108 w 3539592"/>
                  <a:gd name="connsiteY12" fmla="*/ 224052 h 3510839"/>
                  <a:gd name="connsiteX13" fmla="*/ 3417964 w 3539592"/>
                  <a:gd name="connsiteY13" fmla="*/ 198827 h 3510839"/>
                  <a:gd name="connsiteX14" fmla="*/ 3335983 w 3539592"/>
                  <a:gd name="connsiteY14" fmla="*/ 186214 h 3510839"/>
                  <a:gd name="connsiteX15" fmla="*/ 3216165 w 3539592"/>
                  <a:gd name="connsiteY15" fmla="*/ 192521 h 3510839"/>
                  <a:gd name="connsiteX16" fmla="*/ 3146797 w 3539592"/>
                  <a:gd name="connsiteY16" fmla="*/ 205133 h 3510839"/>
                  <a:gd name="connsiteX17" fmla="*/ 2976530 w 3539592"/>
                  <a:gd name="connsiteY17" fmla="*/ 324951 h 3510839"/>
                  <a:gd name="connsiteX18" fmla="*/ 2869324 w 3539592"/>
                  <a:gd name="connsiteY18" fmla="*/ 432156 h 3510839"/>
                  <a:gd name="connsiteX19" fmla="*/ 2787343 w 3539592"/>
                  <a:gd name="connsiteY19" fmla="*/ 533056 h 3510839"/>
                  <a:gd name="connsiteX20" fmla="*/ 2793650 w 3539592"/>
                  <a:gd name="connsiteY20" fmla="*/ 495218 h 3510839"/>
                  <a:gd name="connsiteX21" fmla="*/ 2781037 w 3539592"/>
                  <a:gd name="connsiteY21" fmla="*/ 350176 h 3510839"/>
                  <a:gd name="connsiteX22" fmla="*/ 2774731 w 3539592"/>
                  <a:gd name="connsiteY22" fmla="*/ 331257 h 3510839"/>
                  <a:gd name="connsiteX23" fmla="*/ 2749506 w 3539592"/>
                  <a:gd name="connsiteY23" fmla="*/ 293420 h 3510839"/>
                  <a:gd name="connsiteX24" fmla="*/ 964850 w 3539592"/>
                  <a:gd name="connsiteY24" fmla="*/ 217745 h 3510839"/>
                  <a:gd name="connsiteX0" fmla="*/ 964850 w 3539592"/>
                  <a:gd name="connsiteY0" fmla="*/ 207257 h 3500351"/>
                  <a:gd name="connsiteX1" fmla="*/ 0 w 3539592"/>
                  <a:gd name="connsiteY1" fmla="*/ 3417117 h 3500351"/>
                  <a:gd name="connsiteX2" fmla="*/ 1992761 w 3539592"/>
                  <a:gd name="connsiteY2" fmla="*/ 3492791 h 3500351"/>
                  <a:gd name="connsiteX3" fmla="*/ 2768425 w 3539592"/>
                  <a:gd name="connsiteY3" fmla="*/ 3499097 h 3500351"/>
                  <a:gd name="connsiteX4" fmla="*/ 2818874 w 3539592"/>
                  <a:gd name="connsiteY4" fmla="*/ 3492791 h 3500351"/>
                  <a:gd name="connsiteX5" fmla="*/ 2850405 w 3539592"/>
                  <a:gd name="connsiteY5" fmla="*/ 3467566 h 3500351"/>
                  <a:gd name="connsiteX6" fmla="*/ 2957611 w 3539592"/>
                  <a:gd name="connsiteY6" fmla="*/ 3347748 h 3500351"/>
                  <a:gd name="connsiteX7" fmla="*/ 3228778 w 3539592"/>
                  <a:gd name="connsiteY7" fmla="*/ 2811721 h 3500351"/>
                  <a:gd name="connsiteX8" fmla="*/ 3373821 w 3539592"/>
                  <a:gd name="connsiteY8" fmla="*/ 2420736 h 3500351"/>
                  <a:gd name="connsiteX9" fmla="*/ 3481026 w 3539592"/>
                  <a:gd name="connsiteY9" fmla="*/ 1985608 h 3500351"/>
                  <a:gd name="connsiteX10" fmla="*/ 3512557 w 3539592"/>
                  <a:gd name="connsiteY10" fmla="*/ 421668 h 3500351"/>
                  <a:gd name="connsiteX11" fmla="*/ 3481026 w 3539592"/>
                  <a:gd name="connsiteY11" fmla="*/ 270319 h 3500351"/>
                  <a:gd name="connsiteX12" fmla="*/ 3462108 w 3539592"/>
                  <a:gd name="connsiteY12" fmla="*/ 213564 h 3500351"/>
                  <a:gd name="connsiteX13" fmla="*/ 3417964 w 3539592"/>
                  <a:gd name="connsiteY13" fmla="*/ 188339 h 3500351"/>
                  <a:gd name="connsiteX14" fmla="*/ 3335983 w 3539592"/>
                  <a:gd name="connsiteY14" fmla="*/ 175726 h 3500351"/>
                  <a:gd name="connsiteX15" fmla="*/ 3216165 w 3539592"/>
                  <a:gd name="connsiteY15" fmla="*/ 182033 h 3500351"/>
                  <a:gd name="connsiteX16" fmla="*/ 3146797 w 3539592"/>
                  <a:gd name="connsiteY16" fmla="*/ 194645 h 3500351"/>
                  <a:gd name="connsiteX17" fmla="*/ 2976530 w 3539592"/>
                  <a:gd name="connsiteY17" fmla="*/ 314463 h 3500351"/>
                  <a:gd name="connsiteX18" fmla="*/ 2869324 w 3539592"/>
                  <a:gd name="connsiteY18" fmla="*/ 421668 h 3500351"/>
                  <a:gd name="connsiteX19" fmla="*/ 2787343 w 3539592"/>
                  <a:gd name="connsiteY19" fmla="*/ 522568 h 3500351"/>
                  <a:gd name="connsiteX20" fmla="*/ 2793650 w 3539592"/>
                  <a:gd name="connsiteY20" fmla="*/ 484730 h 3500351"/>
                  <a:gd name="connsiteX21" fmla="*/ 2781037 w 3539592"/>
                  <a:gd name="connsiteY21" fmla="*/ 339688 h 3500351"/>
                  <a:gd name="connsiteX22" fmla="*/ 2774731 w 3539592"/>
                  <a:gd name="connsiteY22" fmla="*/ 320769 h 3500351"/>
                  <a:gd name="connsiteX23" fmla="*/ 964850 w 3539592"/>
                  <a:gd name="connsiteY23" fmla="*/ 207257 h 3500351"/>
                  <a:gd name="connsiteX0" fmla="*/ 964850 w 3539592"/>
                  <a:gd name="connsiteY0" fmla="*/ 206351 h 3499445"/>
                  <a:gd name="connsiteX1" fmla="*/ 0 w 3539592"/>
                  <a:gd name="connsiteY1" fmla="*/ 3416211 h 3499445"/>
                  <a:gd name="connsiteX2" fmla="*/ 1992761 w 3539592"/>
                  <a:gd name="connsiteY2" fmla="*/ 3491885 h 3499445"/>
                  <a:gd name="connsiteX3" fmla="*/ 2768425 w 3539592"/>
                  <a:gd name="connsiteY3" fmla="*/ 3498191 h 3499445"/>
                  <a:gd name="connsiteX4" fmla="*/ 2818874 w 3539592"/>
                  <a:gd name="connsiteY4" fmla="*/ 3491885 h 3499445"/>
                  <a:gd name="connsiteX5" fmla="*/ 2850405 w 3539592"/>
                  <a:gd name="connsiteY5" fmla="*/ 3466660 h 3499445"/>
                  <a:gd name="connsiteX6" fmla="*/ 2957611 w 3539592"/>
                  <a:gd name="connsiteY6" fmla="*/ 3346842 h 3499445"/>
                  <a:gd name="connsiteX7" fmla="*/ 3228778 w 3539592"/>
                  <a:gd name="connsiteY7" fmla="*/ 2810815 h 3499445"/>
                  <a:gd name="connsiteX8" fmla="*/ 3373821 w 3539592"/>
                  <a:gd name="connsiteY8" fmla="*/ 2419830 h 3499445"/>
                  <a:gd name="connsiteX9" fmla="*/ 3481026 w 3539592"/>
                  <a:gd name="connsiteY9" fmla="*/ 1984702 h 3499445"/>
                  <a:gd name="connsiteX10" fmla="*/ 3512557 w 3539592"/>
                  <a:gd name="connsiteY10" fmla="*/ 420762 h 3499445"/>
                  <a:gd name="connsiteX11" fmla="*/ 3481026 w 3539592"/>
                  <a:gd name="connsiteY11" fmla="*/ 269413 h 3499445"/>
                  <a:gd name="connsiteX12" fmla="*/ 3462108 w 3539592"/>
                  <a:gd name="connsiteY12" fmla="*/ 212658 h 3499445"/>
                  <a:gd name="connsiteX13" fmla="*/ 3417964 w 3539592"/>
                  <a:gd name="connsiteY13" fmla="*/ 187433 h 3499445"/>
                  <a:gd name="connsiteX14" fmla="*/ 3335983 w 3539592"/>
                  <a:gd name="connsiteY14" fmla="*/ 174820 h 3499445"/>
                  <a:gd name="connsiteX15" fmla="*/ 3216165 w 3539592"/>
                  <a:gd name="connsiteY15" fmla="*/ 181127 h 3499445"/>
                  <a:gd name="connsiteX16" fmla="*/ 3146797 w 3539592"/>
                  <a:gd name="connsiteY16" fmla="*/ 193739 h 3499445"/>
                  <a:gd name="connsiteX17" fmla="*/ 2976530 w 3539592"/>
                  <a:gd name="connsiteY17" fmla="*/ 313557 h 3499445"/>
                  <a:gd name="connsiteX18" fmla="*/ 2869324 w 3539592"/>
                  <a:gd name="connsiteY18" fmla="*/ 420762 h 3499445"/>
                  <a:gd name="connsiteX19" fmla="*/ 2787343 w 3539592"/>
                  <a:gd name="connsiteY19" fmla="*/ 521662 h 3499445"/>
                  <a:gd name="connsiteX20" fmla="*/ 2793650 w 3539592"/>
                  <a:gd name="connsiteY20" fmla="*/ 483824 h 3499445"/>
                  <a:gd name="connsiteX21" fmla="*/ 2781037 w 3539592"/>
                  <a:gd name="connsiteY21" fmla="*/ 338782 h 3499445"/>
                  <a:gd name="connsiteX22" fmla="*/ 964850 w 3539592"/>
                  <a:gd name="connsiteY22" fmla="*/ 206351 h 3499445"/>
                  <a:gd name="connsiteX0" fmla="*/ 964850 w 3539592"/>
                  <a:gd name="connsiteY0" fmla="*/ 170235 h 3463329"/>
                  <a:gd name="connsiteX1" fmla="*/ 0 w 3539592"/>
                  <a:gd name="connsiteY1" fmla="*/ 3380095 h 3463329"/>
                  <a:gd name="connsiteX2" fmla="*/ 1992761 w 3539592"/>
                  <a:gd name="connsiteY2" fmla="*/ 3455769 h 3463329"/>
                  <a:gd name="connsiteX3" fmla="*/ 2768425 w 3539592"/>
                  <a:gd name="connsiteY3" fmla="*/ 3462075 h 3463329"/>
                  <a:gd name="connsiteX4" fmla="*/ 2818874 w 3539592"/>
                  <a:gd name="connsiteY4" fmla="*/ 3455769 h 3463329"/>
                  <a:gd name="connsiteX5" fmla="*/ 2850405 w 3539592"/>
                  <a:gd name="connsiteY5" fmla="*/ 3430544 h 3463329"/>
                  <a:gd name="connsiteX6" fmla="*/ 2957611 w 3539592"/>
                  <a:gd name="connsiteY6" fmla="*/ 3310726 h 3463329"/>
                  <a:gd name="connsiteX7" fmla="*/ 3228778 w 3539592"/>
                  <a:gd name="connsiteY7" fmla="*/ 2774699 h 3463329"/>
                  <a:gd name="connsiteX8" fmla="*/ 3373821 w 3539592"/>
                  <a:gd name="connsiteY8" fmla="*/ 2383714 h 3463329"/>
                  <a:gd name="connsiteX9" fmla="*/ 3481026 w 3539592"/>
                  <a:gd name="connsiteY9" fmla="*/ 1948586 h 3463329"/>
                  <a:gd name="connsiteX10" fmla="*/ 3512557 w 3539592"/>
                  <a:gd name="connsiteY10" fmla="*/ 384646 h 3463329"/>
                  <a:gd name="connsiteX11" fmla="*/ 3481026 w 3539592"/>
                  <a:gd name="connsiteY11" fmla="*/ 233297 h 3463329"/>
                  <a:gd name="connsiteX12" fmla="*/ 3462108 w 3539592"/>
                  <a:gd name="connsiteY12" fmla="*/ 176542 h 3463329"/>
                  <a:gd name="connsiteX13" fmla="*/ 3417964 w 3539592"/>
                  <a:gd name="connsiteY13" fmla="*/ 151317 h 3463329"/>
                  <a:gd name="connsiteX14" fmla="*/ 3335983 w 3539592"/>
                  <a:gd name="connsiteY14" fmla="*/ 138704 h 3463329"/>
                  <a:gd name="connsiteX15" fmla="*/ 3216165 w 3539592"/>
                  <a:gd name="connsiteY15" fmla="*/ 145011 h 3463329"/>
                  <a:gd name="connsiteX16" fmla="*/ 3146797 w 3539592"/>
                  <a:gd name="connsiteY16" fmla="*/ 157623 h 3463329"/>
                  <a:gd name="connsiteX17" fmla="*/ 2976530 w 3539592"/>
                  <a:gd name="connsiteY17" fmla="*/ 277441 h 3463329"/>
                  <a:gd name="connsiteX18" fmla="*/ 2869324 w 3539592"/>
                  <a:gd name="connsiteY18" fmla="*/ 384646 h 3463329"/>
                  <a:gd name="connsiteX19" fmla="*/ 2787343 w 3539592"/>
                  <a:gd name="connsiteY19" fmla="*/ 485546 h 3463329"/>
                  <a:gd name="connsiteX20" fmla="*/ 2793650 w 3539592"/>
                  <a:gd name="connsiteY20" fmla="*/ 447708 h 3463329"/>
                  <a:gd name="connsiteX21" fmla="*/ 964850 w 3539592"/>
                  <a:gd name="connsiteY21" fmla="*/ 170235 h 3463329"/>
                  <a:gd name="connsiteX0" fmla="*/ 964850 w 3539592"/>
                  <a:gd name="connsiteY0" fmla="*/ 159554 h 3452648"/>
                  <a:gd name="connsiteX1" fmla="*/ 0 w 3539592"/>
                  <a:gd name="connsiteY1" fmla="*/ 3369414 h 3452648"/>
                  <a:gd name="connsiteX2" fmla="*/ 1992761 w 3539592"/>
                  <a:gd name="connsiteY2" fmla="*/ 3445088 h 3452648"/>
                  <a:gd name="connsiteX3" fmla="*/ 2768425 w 3539592"/>
                  <a:gd name="connsiteY3" fmla="*/ 3451394 h 3452648"/>
                  <a:gd name="connsiteX4" fmla="*/ 2818874 w 3539592"/>
                  <a:gd name="connsiteY4" fmla="*/ 3445088 h 3452648"/>
                  <a:gd name="connsiteX5" fmla="*/ 2850405 w 3539592"/>
                  <a:gd name="connsiteY5" fmla="*/ 3419863 h 3452648"/>
                  <a:gd name="connsiteX6" fmla="*/ 2957611 w 3539592"/>
                  <a:gd name="connsiteY6" fmla="*/ 3300045 h 3452648"/>
                  <a:gd name="connsiteX7" fmla="*/ 3228778 w 3539592"/>
                  <a:gd name="connsiteY7" fmla="*/ 2764018 h 3452648"/>
                  <a:gd name="connsiteX8" fmla="*/ 3373821 w 3539592"/>
                  <a:gd name="connsiteY8" fmla="*/ 2373033 h 3452648"/>
                  <a:gd name="connsiteX9" fmla="*/ 3481026 w 3539592"/>
                  <a:gd name="connsiteY9" fmla="*/ 1937905 h 3452648"/>
                  <a:gd name="connsiteX10" fmla="*/ 3512557 w 3539592"/>
                  <a:gd name="connsiteY10" fmla="*/ 373965 h 3452648"/>
                  <a:gd name="connsiteX11" fmla="*/ 3481026 w 3539592"/>
                  <a:gd name="connsiteY11" fmla="*/ 222616 h 3452648"/>
                  <a:gd name="connsiteX12" fmla="*/ 3462108 w 3539592"/>
                  <a:gd name="connsiteY12" fmla="*/ 165861 h 3452648"/>
                  <a:gd name="connsiteX13" fmla="*/ 3417964 w 3539592"/>
                  <a:gd name="connsiteY13" fmla="*/ 140636 h 3452648"/>
                  <a:gd name="connsiteX14" fmla="*/ 3335983 w 3539592"/>
                  <a:gd name="connsiteY14" fmla="*/ 128023 h 3452648"/>
                  <a:gd name="connsiteX15" fmla="*/ 3216165 w 3539592"/>
                  <a:gd name="connsiteY15" fmla="*/ 134330 h 3452648"/>
                  <a:gd name="connsiteX16" fmla="*/ 3146797 w 3539592"/>
                  <a:gd name="connsiteY16" fmla="*/ 146942 h 3452648"/>
                  <a:gd name="connsiteX17" fmla="*/ 2976530 w 3539592"/>
                  <a:gd name="connsiteY17" fmla="*/ 266760 h 3452648"/>
                  <a:gd name="connsiteX18" fmla="*/ 2869324 w 3539592"/>
                  <a:gd name="connsiteY18" fmla="*/ 373965 h 3452648"/>
                  <a:gd name="connsiteX19" fmla="*/ 2787343 w 3539592"/>
                  <a:gd name="connsiteY19" fmla="*/ 474865 h 3452648"/>
                  <a:gd name="connsiteX20" fmla="*/ 964850 w 3539592"/>
                  <a:gd name="connsiteY20" fmla="*/ 159554 h 345264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3216165 w 3539592"/>
                  <a:gd name="connsiteY15" fmla="*/ 203690 h 3522008"/>
                  <a:gd name="connsiteX16" fmla="*/ 3146797 w 3539592"/>
                  <a:gd name="connsiteY16" fmla="*/ 216302 h 3522008"/>
                  <a:gd name="connsiteX17" fmla="*/ 2976530 w 3539592"/>
                  <a:gd name="connsiteY17" fmla="*/ 336120 h 3522008"/>
                  <a:gd name="connsiteX18" fmla="*/ 2869324 w 3539592"/>
                  <a:gd name="connsiteY18" fmla="*/ 443325 h 3522008"/>
                  <a:gd name="connsiteX19" fmla="*/ 2787343 w 3539592"/>
                  <a:gd name="connsiteY19" fmla="*/ 544225 h 3522008"/>
                  <a:gd name="connsiteX20" fmla="*/ 964850 w 3539592"/>
                  <a:gd name="connsiteY20"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3216165 w 3539592"/>
                  <a:gd name="connsiteY15" fmla="*/ 203690 h 3522008"/>
                  <a:gd name="connsiteX16" fmla="*/ 3146797 w 3539592"/>
                  <a:gd name="connsiteY16" fmla="*/ 216302 h 3522008"/>
                  <a:gd name="connsiteX17" fmla="*/ 2976530 w 3539592"/>
                  <a:gd name="connsiteY17" fmla="*/ 336120 h 3522008"/>
                  <a:gd name="connsiteX18" fmla="*/ 2787343 w 3539592"/>
                  <a:gd name="connsiteY18" fmla="*/ 544225 h 3522008"/>
                  <a:gd name="connsiteX19" fmla="*/ 964850 w 3539592"/>
                  <a:gd name="connsiteY19"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3216165 w 3539592"/>
                  <a:gd name="connsiteY15" fmla="*/ 203690 h 3522008"/>
                  <a:gd name="connsiteX16" fmla="*/ 3146797 w 3539592"/>
                  <a:gd name="connsiteY16" fmla="*/ 216302 h 3522008"/>
                  <a:gd name="connsiteX17" fmla="*/ 2787343 w 3539592"/>
                  <a:gd name="connsiteY17" fmla="*/ 544225 h 3522008"/>
                  <a:gd name="connsiteX18" fmla="*/ 964850 w 3539592"/>
                  <a:gd name="connsiteY18"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3216165 w 3539592"/>
                  <a:gd name="connsiteY15" fmla="*/ 203690 h 3522008"/>
                  <a:gd name="connsiteX16" fmla="*/ 2787343 w 3539592"/>
                  <a:gd name="connsiteY16" fmla="*/ 544225 h 3522008"/>
                  <a:gd name="connsiteX17" fmla="*/ 964850 w 3539592"/>
                  <a:gd name="connsiteY17"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2787343 w 3539592"/>
                  <a:gd name="connsiteY15" fmla="*/ 544225 h 3522008"/>
                  <a:gd name="connsiteX16" fmla="*/ 964850 w 3539592"/>
                  <a:gd name="connsiteY16"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2787343 w 3539592"/>
                  <a:gd name="connsiteY14" fmla="*/ 544225 h 3522008"/>
                  <a:gd name="connsiteX15" fmla="*/ 964850 w 3539592"/>
                  <a:gd name="connsiteY15"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2787343 w 3539592"/>
                  <a:gd name="connsiteY14" fmla="*/ 544225 h 3522008"/>
                  <a:gd name="connsiteX15" fmla="*/ 964850 w 3539592"/>
                  <a:gd name="connsiteY15"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2787343 w 3539592"/>
                  <a:gd name="connsiteY13" fmla="*/ 544225 h 3522008"/>
                  <a:gd name="connsiteX14" fmla="*/ 964850 w 3539592"/>
                  <a:gd name="connsiteY14" fmla="*/ 228914 h 3522008"/>
                  <a:gd name="connsiteX0" fmla="*/ 964850 w 3543941"/>
                  <a:gd name="connsiteY0" fmla="*/ 228914 h 3522008"/>
                  <a:gd name="connsiteX1" fmla="*/ 0 w 3543941"/>
                  <a:gd name="connsiteY1" fmla="*/ 3438774 h 3522008"/>
                  <a:gd name="connsiteX2" fmla="*/ 1992761 w 3543941"/>
                  <a:gd name="connsiteY2" fmla="*/ 3514448 h 3522008"/>
                  <a:gd name="connsiteX3" fmla="*/ 2768425 w 3543941"/>
                  <a:gd name="connsiteY3" fmla="*/ 3520754 h 3522008"/>
                  <a:gd name="connsiteX4" fmla="*/ 2818874 w 3543941"/>
                  <a:gd name="connsiteY4" fmla="*/ 3514448 h 3522008"/>
                  <a:gd name="connsiteX5" fmla="*/ 2850405 w 3543941"/>
                  <a:gd name="connsiteY5" fmla="*/ 3489223 h 3522008"/>
                  <a:gd name="connsiteX6" fmla="*/ 2957611 w 3543941"/>
                  <a:gd name="connsiteY6" fmla="*/ 3369405 h 3522008"/>
                  <a:gd name="connsiteX7" fmla="*/ 3228778 w 3543941"/>
                  <a:gd name="connsiteY7" fmla="*/ 2833378 h 3522008"/>
                  <a:gd name="connsiteX8" fmla="*/ 3373821 w 3543941"/>
                  <a:gd name="connsiteY8" fmla="*/ 2442393 h 3522008"/>
                  <a:gd name="connsiteX9" fmla="*/ 3481026 w 3543941"/>
                  <a:gd name="connsiteY9" fmla="*/ 2007265 h 3522008"/>
                  <a:gd name="connsiteX10" fmla="*/ 3512557 w 3543941"/>
                  <a:gd name="connsiteY10" fmla="*/ 443325 h 3522008"/>
                  <a:gd name="connsiteX11" fmla="*/ 3481026 w 3543941"/>
                  <a:gd name="connsiteY11" fmla="*/ 291976 h 3522008"/>
                  <a:gd name="connsiteX12" fmla="*/ 2787343 w 3543941"/>
                  <a:gd name="connsiteY12" fmla="*/ 544225 h 3522008"/>
                  <a:gd name="connsiteX13" fmla="*/ 964850 w 3543941"/>
                  <a:gd name="connsiteY13" fmla="*/ 228914 h 3522008"/>
                  <a:gd name="connsiteX0" fmla="*/ 964850 w 3575244"/>
                  <a:gd name="connsiteY0" fmla="*/ 228914 h 3522008"/>
                  <a:gd name="connsiteX1" fmla="*/ 0 w 3575244"/>
                  <a:gd name="connsiteY1" fmla="*/ 3438774 h 3522008"/>
                  <a:gd name="connsiteX2" fmla="*/ 1992761 w 3575244"/>
                  <a:gd name="connsiteY2" fmla="*/ 3514448 h 3522008"/>
                  <a:gd name="connsiteX3" fmla="*/ 2768425 w 3575244"/>
                  <a:gd name="connsiteY3" fmla="*/ 3520754 h 3522008"/>
                  <a:gd name="connsiteX4" fmla="*/ 2818874 w 3575244"/>
                  <a:gd name="connsiteY4" fmla="*/ 3514448 h 3522008"/>
                  <a:gd name="connsiteX5" fmla="*/ 2850405 w 3575244"/>
                  <a:gd name="connsiteY5" fmla="*/ 3489223 h 3522008"/>
                  <a:gd name="connsiteX6" fmla="*/ 2957611 w 3575244"/>
                  <a:gd name="connsiteY6" fmla="*/ 3369405 h 3522008"/>
                  <a:gd name="connsiteX7" fmla="*/ 3228778 w 3575244"/>
                  <a:gd name="connsiteY7" fmla="*/ 2833378 h 3522008"/>
                  <a:gd name="connsiteX8" fmla="*/ 3373821 w 3575244"/>
                  <a:gd name="connsiteY8" fmla="*/ 2442393 h 3522008"/>
                  <a:gd name="connsiteX9" fmla="*/ 3481026 w 3575244"/>
                  <a:gd name="connsiteY9" fmla="*/ 2007265 h 3522008"/>
                  <a:gd name="connsiteX10" fmla="*/ 3512557 w 3575244"/>
                  <a:gd name="connsiteY10" fmla="*/ 443325 h 3522008"/>
                  <a:gd name="connsiteX11" fmla="*/ 2787343 w 3575244"/>
                  <a:gd name="connsiteY11" fmla="*/ 544225 h 3522008"/>
                  <a:gd name="connsiteX12" fmla="*/ 964850 w 3575244"/>
                  <a:gd name="connsiteY12" fmla="*/ 228914 h 3522008"/>
                  <a:gd name="connsiteX0" fmla="*/ 964850 w 3551879"/>
                  <a:gd name="connsiteY0" fmla="*/ 228914 h 3522008"/>
                  <a:gd name="connsiteX1" fmla="*/ 0 w 3551879"/>
                  <a:gd name="connsiteY1" fmla="*/ 3438774 h 3522008"/>
                  <a:gd name="connsiteX2" fmla="*/ 1992761 w 3551879"/>
                  <a:gd name="connsiteY2" fmla="*/ 3514448 h 3522008"/>
                  <a:gd name="connsiteX3" fmla="*/ 2768425 w 3551879"/>
                  <a:gd name="connsiteY3" fmla="*/ 3520754 h 3522008"/>
                  <a:gd name="connsiteX4" fmla="*/ 2818874 w 3551879"/>
                  <a:gd name="connsiteY4" fmla="*/ 3514448 h 3522008"/>
                  <a:gd name="connsiteX5" fmla="*/ 2850405 w 3551879"/>
                  <a:gd name="connsiteY5" fmla="*/ 3489223 h 3522008"/>
                  <a:gd name="connsiteX6" fmla="*/ 2957611 w 3551879"/>
                  <a:gd name="connsiteY6" fmla="*/ 3369405 h 3522008"/>
                  <a:gd name="connsiteX7" fmla="*/ 3228778 w 3551879"/>
                  <a:gd name="connsiteY7" fmla="*/ 2833378 h 3522008"/>
                  <a:gd name="connsiteX8" fmla="*/ 3373821 w 3551879"/>
                  <a:gd name="connsiteY8" fmla="*/ 2442393 h 3522008"/>
                  <a:gd name="connsiteX9" fmla="*/ 3481026 w 3551879"/>
                  <a:gd name="connsiteY9" fmla="*/ 2007265 h 3522008"/>
                  <a:gd name="connsiteX10" fmla="*/ 3512557 w 3551879"/>
                  <a:gd name="connsiteY10" fmla="*/ 443325 h 3522008"/>
                  <a:gd name="connsiteX11" fmla="*/ 2787343 w 3551879"/>
                  <a:gd name="connsiteY11" fmla="*/ 544225 h 3522008"/>
                  <a:gd name="connsiteX12" fmla="*/ 964850 w 3551879"/>
                  <a:gd name="connsiteY12" fmla="*/ 228914 h 3522008"/>
                  <a:gd name="connsiteX0" fmla="*/ 964850 w 3551879"/>
                  <a:gd name="connsiteY0" fmla="*/ 228914 h 3522008"/>
                  <a:gd name="connsiteX1" fmla="*/ 0 w 3551879"/>
                  <a:gd name="connsiteY1" fmla="*/ 3438774 h 3522008"/>
                  <a:gd name="connsiteX2" fmla="*/ 1992761 w 3551879"/>
                  <a:gd name="connsiteY2" fmla="*/ 3514448 h 3522008"/>
                  <a:gd name="connsiteX3" fmla="*/ 2768425 w 3551879"/>
                  <a:gd name="connsiteY3" fmla="*/ 3520754 h 3522008"/>
                  <a:gd name="connsiteX4" fmla="*/ 2818874 w 3551879"/>
                  <a:gd name="connsiteY4" fmla="*/ 3514448 h 3522008"/>
                  <a:gd name="connsiteX5" fmla="*/ 2850405 w 3551879"/>
                  <a:gd name="connsiteY5" fmla="*/ 3489223 h 3522008"/>
                  <a:gd name="connsiteX6" fmla="*/ 2957611 w 3551879"/>
                  <a:gd name="connsiteY6" fmla="*/ 3369405 h 3522008"/>
                  <a:gd name="connsiteX7" fmla="*/ 3228778 w 3551879"/>
                  <a:gd name="connsiteY7" fmla="*/ 2833378 h 3522008"/>
                  <a:gd name="connsiteX8" fmla="*/ 3373821 w 3551879"/>
                  <a:gd name="connsiteY8" fmla="*/ 2442393 h 3522008"/>
                  <a:gd name="connsiteX9" fmla="*/ 3481026 w 3551879"/>
                  <a:gd name="connsiteY9" fmla="*/ 2007265 h 3522008"/>
                  <a:gd name="connsiteX10" fmla="*/ 3512557 w 3551879"/>
                  <a:gd name="connsiteY10" fmla="*/ 443325 h 3522008"/>
                  <a:gd name="connsiteX11" fmla="*/ 2787343 w 3551879"/>
                  <a:gd name="connsiteY11" fmla="*/ 544225 h 3522008"/>
                  <a:gd name="connsiteX12" fmla="*/ 964850 w 3551879"/>
                  <a:gd name="connsiteY12" fmla="*/ 228914 h 3522008"/>
                  <a:gd name="connsiteX0" fmla="*/ 964850 w 3551879"/>
                  <a:gd name="connsiteY0" fmla="*/ 228914 h 3522008"/>
                  <a:gd name="connsiteX1" fmla="*/ 0 w 3551879"/>
                  <a:gd name="connsiteY1" fmla="*/ 3438774 h 3522008"/>
                  <a:gd name="connsiteX2" fmla="*/ 1992761 w 3551879"/>
                  <a:gd name="connsiteY2" fmla="*/ 3514448 h 3522008"/>
                  <a:gd name="connsiteX3" fmla="*/ 2768425 w 3551879"/>
                  <a:gd name="connsiteY3" fmla="*/ 3520754 h 3522008"/>
                  <a:gd name="connsiteX4" fmla="*/ 2818874 w 3551879"/>
                  <a:gd name="connsiteY4" fmla="*/ 3514448 h 3522008"/>
                  <a:gd name="connsiteX5" fmla="*/ 2850405 w 3551879"/>
                  <a:gd name="connsiteY5" fmla="*/ 3489223 h 3522008"/>
                  <a:gd name="connsiteX6" fmla="*/ 2957611 w 3551879"/>
                  <a:gd name="connsiteY6" fmla="*/ 3369405 h 3522008"/>
                  <a:gd name="connsiteX7" fmla="*/ 3228778 w 3551879"/>
                  <a:gd name="connsiteY7" fmla="*/ 2833378 h 3522008"/>
                  <a:gd name="connsiteX8" fmla="*/ 3481026 w 3551879"/>
                  <a:gd name="connsiteY8" fmla="*/ 2007265 h 3522008"/>
                  <a:gd name="connsiteX9" fmla="*/ 3512557 w 3551879"/>
                  <a:gd name="connsiteY9" fmla="*/ 443325 h 3522008"/>
                  <a:gd name="connsiteX10" fmla="*/ 2787343 w 3551879"/>
                  <a:gd name="connsiteY10" fmla="*/ 544225 h 3522008"/>
                  <a:gd name="connsiteX11" fmla="*/ 964850 w 3551879"/>
                  <a:gd name="connsiteY11" fmla="*/ 228914 h 3522008"/>
                  <a:gd name="connsiteX0" fmla="*/ 964850 w 3525305"/>
                  <a:gd name="connsiteY0" fmla="*/ 228914 h 3522008"/>
                  <a:gd name="connsiteX1" fmla="*/ 0 w 3525305"/>
                  <a:gd name="connsiteY1" fmla="*/ 3438774 h 3522008"/>
                  <a:gd name="connsiteX2" fmla="*/ 1992761 w 3525305"/>
                  <a:gd name="connsiteY2" fmla="*/ 3514448 h 3522008"/>
                  <a:gd name="connsiteX3" fmla="*/ 2768425 w 3525305"/>
                  <a:gd name="connsiteY3" fmla="*/ 3520754 h 3522008"/>
                  <a:gd name="connsiteX4" fmla="*/ 2818874 w 3525305"/>
                  <a:gd name="connsiteY4" fmla="*/ 3514448 h 3522008"/>
                  <a:gd name="connsiteX5" fmla="*/ 2850405 w 3525305"/>
                  <a:gd name="connsiteY5" fmla="*/ 3489223 h 3522008"/>
                  <a:gd name="connsiteX6" fmla="*/ 2957611 w 3525305"/>
                  <a:gd name="connsiteY6" fmla="*/ 3369405 h 3522008"/>
                  <a:gd name="connsiteX7" fmla="*/ 3228778 w 3525305"/>
                  <a:gd name="connsiteY7" fmla="*/ 2833378 h 3522008"/>
                  <a:gd name="connsiteX8" fmla="*/ 3512557 w 3525305"/>
                  <a:gd name="connsiteY8" fmla="*/ 443325 h 3522008"/>
                  <a:gd name="connsiteX9" fmla="*/ 2787343 w 3525305"/>
                  <a:gd name="connsiteY9" fmla="*/ 544225 h 3522008"/>
                  <a:gd name="connsiteX10" fmla="*/ 964850 w 3525305"/>
                  <a:gd name="connsiteY10" fmla="*/ 228914 h 3522008"/>
                  <a:gd name="connsiteX0" fmla="*/ 964850 w 3513782"/>
                  <a:gd name="connsiteY0" fmla="*/ 228914 h 3622365"/>
                  <a:gd name="connsiteX1" fmla="*/ 0 w 3513782"/>
                  <a:gd name="connsiteY1" fmla="*/ 3438774 h 3622365"/>
                  <a:gd name="connsiteX2" fmla="*/ 1992761 w 3513782"/>
                  <a:gd name="connsiteY2" fmla="*/ 3514448 h 3622365"/>
                  <a:gd name="connsiteX3" fmla="*/ 2768425 w 3513782"/>
                  <a:gd name="connsiteY3" fmla="*/ 3520754 h 3622365"/>
                  <a:gd name="connsiteX4" fmla="*/ 2818874 w 3513782"/>
                  <a:gd name="connsiteY4" fmla="*/ 3514448 h 3622365"/>
                  <a:gd name="connsiteX5" fmla="*/ 2850405 w 3513782"/>
                  <a:gd name="connsiteY5" fmla="*/ 3489223 h 3622365"/>
                  <a:gd name="connsiteX6" fmla="*/ 2957611 w 3513782"/>
                  <a:gd name="connsiteY6" fmla="*/ 3369405 h 3622365"/>
                  <a:gd name="connsiteX7" fmla="*/ 3512557 w 3513782"/>
                  <a:gd name="connsiteY7" fmla="*/ 443325 h 3622365"/>
                  <a:gd name="connsiteX8" fmla="*/ 2787343 w 3513782"/>
                  <a:gd name="connsiteY8" fmla="*/ 544225 h 3622365"/>
                  <a:gd name="connsiteX9" fmla="*/ 964850 w 3513782"/>
                  <a:gd name="connsiteY9" fmla="*/ 228914 h 3622365"/>
                  <a:gd name="connsiteX0" fmla="*/ 964850 w 3512703"/>
                  <a:gd name="connsiteY0" fmla="*/ 228914 h 3722318"/>
                  <a:gd name="connsiteX1" fmla="*/ 0 w 3512703"/>
                  <a:gd name="connsiteY1" fmla="*/ 3438774 h 3722318"/>
                  <a:gd name="connsiteX2" fmla="*/ 1992761 w 3512703"/>
                  <a:gd name="connsiteY2" fmla="*/ 3514448 h 3722318"/>
                  <a:gd name="connsiteX3" fmla="*/ 2768425 w 3512703"/>
                  <a:gd name="connsiteY3" fmla="*/ 3520754 h 3722318"/>
                  <a:gd name="connsiteX4" fmla="*/ 2818874 w 3512703"/>
                  <a:gd name="connsiteY4" fmla="*/ 3514448 h 3722318"/>
                  <a:gd name="connsiteX5" fmla="*/ 2850405 w 3512703"/>
                  <a:gd name="connsiteY5" fmla="*/ 3489223 h 3722318"/>
                  <a:gd name="connsiteX6" fmla="*/ 3512557 w 3512703"/>
                  <a:gd name="connsiteY6" fmla="*/ 443325 h 3722318"/>
                  <a:gd name="connsiteX7" fmla="*/ 2787343 w 3512703"/>
                  <a:gd name="connsiteY7" fmla="*/ 544225 h 3722318"/>
                  <a:gd name="connsiteX8" fmla="*/ 964850 w 3512703"/>
                  <a:gd name="connsiteY8" fmla="*/ 228914 h 3722318"/>
                  <a:gd name="connsiteX0" fmla="*/ 964850 w 3512592"/>
                  <a:gd name="connsiteY0" fmla="*/ 228914 h 3743580"/>
                  <a:gd name="connsiteX1" fmla="*/ 0 w 3512592"/>
                  <a:gd name="connsiteY1" fmla="*/ 3438774 h 3743580"/>
                  <a:gd name="connsiteX2" fmla="*/ 1992761 w 3512592"/>
                  <a:gd name="connsiteY2" fmla="*/ 3514448 h 3743580"/>
                  <a:gd name="connsiteX3" fmla="*/ 2768425 w 3512592"/>
                  <a:gd name="connsiteY3" fmla="*/ 3520754 h 3743580"/>
                  <a:gd name="connsiteX4" fmla="*/ 2818874 w 3512592"/>
                  <a:gd name="connsiteY4" fmla="*/ 3514448 h 3743580"/>
                  <a:gd name="connsiteX5" fmla="*/ 3512557 w 3512592"/>
                  <a:gd name="connsiteY5" fmla="*/ 443325 h 3743580"/>
                  <a:gd name="connsiteX6" fmla="*/ 2787343 w 3512592"/>
                  <a:gd name="connsiteY6" fmla="*/ 544225 h 3743580"/>
                  <a:gd name="connsiteX7" fmla="*/ 964850 w 3512592"/>
                  <a:gd name="connsiteY7" fmla="*/ 228914 h 3743580"/>
                  <a:gd name="connsiteX0" fmla="*/ 964850 w 3512581"/>
                  <a:gd name="connsiteY0" fmla="*/ 228914 h 3522008"/>
                  <a:gd name="connsiteX1" fmla="*/ 0 w 3512581"/>
                  <a:gd name="connsiteY1" fmla="*/ 3438774 h 3522008"/>
                  <a:gd name="connsiteX2" fmla="*/ 1992761 w 3512581"/>
                  <a:gd name="connsiteY2" fmla="*/ 3514448 h 3522008"/>
                  <a:gd name="connsiteX3" fmla="*/ 2768425 w 3512581"/>
                  <a:gd name="connsiteY3" fmla="*/ 3520754 h 3522008"/>
                  <a:gd name="connsiteX4" fmla="*/ 3512557 w 3512581"/>
                  <a:gd name="connsiteY4" fmla="*/ 443325 h 3522008"/>
                  <a:gd name="connsiteX5" fmla="*/ 2787343 w 3512581"/>
                  <a:gd name="connsiteY5" fmla="*/ 544225 h 3522008"/>
                  <a:gd name="connsiteX6" fmla="*/ 964850 w 3512581"/>
                  <a:gd name="connsiteY6" fmla="*/ 228914 h 3522008"/>
                  <a:gd name="connsiteX0" fmla="*/ 964850 w 3512581"/>
                  <a:gd name="connsiteY0" fmla="*/ 228914 h 3522008"/>
                  <a:gd name="connsiteX1" fmla="*/ 0 w 3512581"/>
                  <a:gd name="connsiteY1" fmla="*/ 3438774 h 3522008"/>
                  <a:gd name="connsiteX2" fmla="*/ 1992761 w 3512581"/>
                  <a:gd name="connsiteY2" fmla="*/ 3514448 h 3522008"/>
                  <a:gd name="connsiteX3" fmla="*/ 2768425 w 3512581"/>
                  <a:gd name="connsiteY3" fmla="*/ 3520754 h 3522008"/>
                  <a:gd name="connsiteX4" fmla="*/ 3512557 w 3512581"/>
                  <a:gd name="connsiteY4" fmla="*/ 443325 h 3522008"/>
                  <a:gd name="connsiteX5" fmla="*/ 2787343 w 3512581"/>
                  <a:gd name="connsiteY5" fmla="*/ 544225 h 3522008"/>
                  <a:gd name="connsiteX6" fmla="*/ 964850 w 3512581"/>
                  <a:gd name="connsiteY6" fmla="*/ 228914 h 3522008"/>
                  <a:gd name="connsiteX0" fmla="*/ 964850 w 3512581"/>
                  <a:gd name="connsiteY0" fmla="*/ 228914 h 3873893"/>
                  <a:gd name="connsiteX1" fmla="*/ 0 w 3512581"/>
                  <a:gd name="connsiteY1" fmla="*/ 3438774 h 3873893"/>
                  <a:gd name="connsiteX2" fmla="*/ 2768425 w 3512581"/>
                  <a:gd name="connsiteY2" fmla="*/ 3520754 h 3873893"/>
                  <a:gd name="connsiteX3" fmla="*/ 3512557 w 3512581"/>
                  <a:gd name="connsiteY3" fmla="*/ 443325 h 3873893"/>
                  <a:gd name="connsiteX4" fmla="*/ 2787343 w 3512581"/>
                  <a:gd name="connsiteY4" fmla="*/ 544225 h 3873893"/>
                  <a:gd name="connsiteX5" fmla="*/ 964850 w 3512581"/>
                  <a:gd name="connsiteY5" fmla="*/ 228914 h 3873893"/>
                  <a:gd name="connsiteX0" fmla="*/ 964850 w 3512581"/>
                  <a:gd name="connsiteY0" fmla="*/ 228914 h 3722023"/>
                  <a:gd name="connsiteX1" fmla="*/ 0 w 3512581"/>
                  <a:gd name="connsiteY1" fmla="*/ 3438774 h 3722023"/>
                  <a:gd name="connsiteX2" fmla="*/ 2768425 w 3512581"/>
                  <a:gd name="connsiteY2" fmla="*/ 3520754 h 3722023"/>
                  <a:gd name="connsiteX3" fmla="*/ 3512557 w 3512581"/>
                  <a:gd name="connsiteY3" fmla="*/ 443325 h 3722023"/>
                  <a:gd name="connsiteX4" fmla="*/ 2787343 w 3512581"/>
                  <a:gd name="connsiteY4" fmla="*/ 544225 h 3722023"/>
                  <a:gd name="connsiteX5" fmla="*/ 964850 w 3512581"/>
                  <a:gd name="connsiteY5" fmla="*/ 228914 h 3722023"/>
                  <a:gd name="connsiteX0" fmla="*/ 964850 w 3512581"/>
                  <a:gd name="connsiteY0" fmla="*/ 228914 h 3520754"/>
                  <a:gd name="connsiteX1" fmla="*/ 0 w 3512581"/>
                  <a:gd name="connsiteY1" fmla="*/ 3438774 h 3520754"/>
                  <a:gd name="connsiteX2" fmla="*/ 2768425 w 3512581"/>
                  <a:gd name="connsiteY2" fmla="*/ 3520754 h 3520754"/>
                  <a:gd name="connsiteX3" fmla="*/ 3512557 w 3512581"/>
                  <a:gd name="connsiteY3" fmla="*/ 443325 h 3520754"/>
                  <a:gd name="connsiteX4" fmla="*/ 2787343 w 3512581"/>
                  <a:gd name="connsiteY4" fmla="*/ 544225 h 3520754"/>
                  <a:gd name="connsiteX5" fmla="*/ 964850 w 3512581"/>
                  <a:gd name="connsiteY5" fmla="*/ 228914 h 352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581" h="3520754">
                    <a:moveTo>
                      <a:pt x="964850" y="228914"/>
                    </a:moveTo>
                    <a:cubicBezTo>
                      <a:pt x="1144577" y="1207427"/>
                      <a:pt x="503446" y="2796592"/>
                      <a:pt x="0" y="3438774"/>
                    </a:cubicBezTo>
                    <a:cubicBezTo>
                      <a:pt x="1158240" y="3432468"/>
                      <a:pt x="1968588" y="3401988"/>
                      <a:pt x="2768425" y="3520754"/>
                    </a:cubicBezTo>
                    <a:cubicBezTo>
                      <a:pt x="3406403" y="2397198"/>
                      <a:pt x="3509404" y="939413"/>
                      <a:pt x="3512557" y="443325"/>
                    </a:cubicBezTo>
                    <a:cubicBezTo>
                      <a:pt x="3515710" y="-52763"/>
                      <a:pt x="3211961" y="-38048"/>
                      <a:pt x="2787343" y="544225"/>
                    </a:cubicBezTo>
                    <a:cubicBezTo>
                      <a:pt x="2640198" y="111199"/>
                      <a:pt x="1429407" y="-253511"/>
                      <a:pt x="964850" y="228914"/>
                    </a:cubicBez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2000" dirty="0" smtClean="0">
                  <a:solidFill>
                    <a:schemeClr val="tx1"/>
                  </a:solidFill>
                </a:endParaRPr>
              </a:p>
            </p:txBody>
          </p:sp>
        </p:grpSp>
        <p:sp>
          <p:nvSpPr>
            <p:cNvPr id="9" name="Inhaltsplatzhalter 3"/>
            <p:cNvSpPr txBox="1">
              <a:spLocks/>
            </p:cNvSpPr>
            <p:nvPr/>
          </p:nvSpPr>
          <p:spPr>
            <a:xfrm>
              <a:off x="3463663" y="4524250"/>
              <a:ext cx="3326340" cy="413289"/>
            </a:xfrm>
            <a:prstGeom prst="rect">
              <a:avLst/>
            </a:prstGeom>
          </p:spPr>
          <p:txBody>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200" b="1" dirty="0" smtClean="0">
                  <a:solidFill>
                    <a:schemeClr val="accent6"/>
                  </a:solidFill>
                  <a:latin typeface="MV Boli" panose="02000500030200090000" pitchFamily="2" charset="0"/>
                  <a:cs typeface="MV Boli" panose="02000500030200090000" pitchFamily="2" charset="0"/>
                </a:rPr>
                <a:t>7.6</a:t>
              </a:r>
              <a:r>
                <a:rPr lang="de-DE" sz="3200" b="1" dirty="0" smtClean="0">
                  <a:latin typeface="MV Boli" panose="02000500030200090000" pitchFamily="2" charset="0"/>
                  <a:cs typeface="MV Boli" panose="02000500030200090000" pitchFamily="2" charset="0"/>
                </a:rPr>
                <a:t> </a:t>
              </a:r>
              <a:r>
                <a:rPr lang="de-DE" sz="3200" b="1" dirty="0" err="1" smtClean="0">
                  <a:latin typeface="MV Boli" panose="02000500030200090000" pitchFamily="2" charset="0"/>
                  <a:cs typeface="MV Boli" panose="02000500030200090000" pitchFamily="2" charset="0"/>
                </a:rPr>
                <a:t>Bn</a:t>
              </a:r>
              <a:r>
                <a:rPr lang="de-DE" sz="3200" b="1" dirty="0" smtClean="0">
                  <a:latin typeface="MV Boli" panose="02000500030200090000" pitchFamily="2" charset="0"/>
                  <a:cs typeface="MV Boli" panose="02000500030200090000" pitchFamily="2" charset="0"/>
                </a:rPr>
                <a:t> EUR</a:t>
              </a:r>
              <a:endParaRPr lang="de-DE" sz="3200" b="1" dirty="0">
                <a:latin typeface="MV Boli" panose="02000500030200090000" pitchFamily="2" charset="0"/>
                <a:cs typeface="MV Boli" panose="02000500030200090000" pitchFamily="2" charset="0"/>
              </a:endParaRPr>
            </a:p>
          </p:txBody>
        </p:sp>
        <p:sp>
          <p:nvSpPr>
            <p:cNvPr id="10" name="Inhaltsplatzhalter 3"/>
            <p:cNvSpPr txBox="1">
              <a:spLocks/>
            </p:cNvSpPr>
            <p:nvPr/>
          </p:nvSpPr>
          <p:spPr>
            <a:xfrm>
              <a:off x="3463663" y="5138095"/>
              <a:ext cx="3145610" cy="492443"/>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200" dirty="0" smtClean="0">
                  <a:latin typeface="MV Boli" panose="02000500030200090000" pitchFamily="2" charset="0"/>
                  <a:cs typeface="MV Boli" panose="02000500030200090000" pitchFamily="2" charset="0"/>
                </a:rPr>
                <a:t>2M # </a:t>
              </a:r>
              <a:r>
                <a:rPr lang="de-DE" sz="3200" dirty="0" err="1" smtClean="0">
                  <a:latin typeface="MV Boli" panose="02000500030200090000" pitchFamily="2" charset="0"/>
                  <a:cs typeface="MV Boli" panose="02000500030200090000" pitchFamily="2" charset="0"/>
                </a:rPr>
                <a:t>articles</a:t>
              </a:r>
              <a:endParaRPr lang="de-DE" sz="3200" dirty="0">
                <a:latin typeface="MV Boli" panose="02000500030200090000" pitchFamily="2" charset="0"/>
                <a:cs typeface="MV Boli" panose="02000500030200090000" pitchFamily="2" charset="0"/>
              </a:endParaRPr>
            </a:p>
          </p:txBody>
        </p:sp>
        <p:sp>
          <p:nvSpPr>
            <p:cNvPr id="11" name="Inhaltsplatzhalter 3"/>
            <p:cNvSpPr txBox="1">
              <a:spLocks/>
            </p:cNvSpPr>
            <p:nvPr/>
          </p:nvSpPr>
          <p:spPr>
            <a:xfrm>
              <a:off x="3104194" y="6054155"/>
              <a:ext cx="4740751" cy="492443"/>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200" b="1" dirty="0" smtClean="0">
                  <a:latin typeface="MV Boli" panose="02000500030200090000" pitchFamily="2" charset="0"/>
                  <a:cs typeface="MV Boli" panose="02000500030200090000" pitchFamily="2" charset="0"/>
                </a:rPr>
                <a:t>3800 EUR per </a:t>
              </a:r>
              <a:r>
                <a:rPr lang="de-DE" sz="3200" b="1" dirty="0" err="1" smtClean="0">
                  <a:latin typeface="MV Boli" panose="02000500030200090000" pitchFamily="2" charset="0"/>
                  <a:cs typeface="MV Boli" panose="02000500030200090000" pitchFamily="2" charset="0"/>
                </a:rPr>
                <a:t>article</a:t>
              </a:r>
              <a:endParaRPr lang="de-DE" sz="3200" b="1" dirty="0">
                <a:latin typeface="MV Boli" panose="02000500030200090000" pitchFamily="2" charset="0"/>
                <a:cs typeface="MV Boli" panose="02000500030200090000" pitchFamily="2" charset="0"/>
              </a:endParaRPr>
            </a:p>
          </p:txBody>
        </p:sp>
        <p:sp>
          <p:nvSpPr>
            <p:cNvPr id="12" name="Freihandform 11"/>
            <p:cNvSpPr/>
            <p:nvPr/>
          </p:nvSpPr>
          <p:spPr>
            <a:xfrm>
              <a:off x="3344179" y="5758788"/>
              <a:ext cx="3023201" cy="28226"/>
            </a:xfrm>
            <a:custGeom>
              <a:avLst/>
              <a:gdLst>
                <a:gd name="connsiteX0" fmla="*/ 0 w 2144111"/>
                <a:gd name="connsiteY0" fmla="*/ 0 h 18918"/>
                <a:gd name="connsiteX1" fmla="*/ 0 w 2144111"/>
                <a:gd name="connsiteY1" fmla="*/ 0 h 18918"/>
                <a:gd name="connsiteX2" fmla="*/ 2144111 w 2144111"/>
                <a:gd name="connsiteY2" fmla="*/ 18918 h 18918"/>
                <a:gd name="connsiteX3" fmla="*/ 2144111 w 2144111"/>
                <a:gd name="connsiteY3" fmla="*/ 18918 h 18918"/>
              </a:gdLst>
              <a:ahLst/>
              <a:cxnLst>
                <a:cxn ang="0">
                  <a:pos x="connsiteX0" y="connsiteY0"/>
                </a:cxn>
                <a:cxn ang="0">
                  <a:pos x="connsiteX1" y="connsiteY1"/>
                </a:cxn>
                <a:cxn ang="0">
                  <a:pos x="connsiteX2" y="connsiteY2"/>
                </a:cxn>
                <a:cxn ang="0">
                  <a:pos x="connsiteX3" y="connsiteY3"/>
                </a:cxn>
              </a:cxnLst>
              <a:rect l="l" t="t" r="r" b="b"/>
              <a:pathLst>
                <a:path w="2144111" h="18918">
                  <a:moveTo>
                    <a:pt x="0" y="0"/>
                  </a:moveTo>
                  <a:lnTo>
                    <a:pt x="0" y="0"/>
                  </a:lnTo>
                  <a:lnTo>
                    <a:pt x="2144111" y="18918"/>
                  </a:lnTo>
                  <a:lnTo>
                    <a:pt x="2144111" y="18918"/>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600"/>
            </a:p>
          </p:txBody>
        </p:sp>
        <p:grpSp>
          <p:nvGrpSpPr>
            <p:cNvPr id="13" name="Gruppieren 12"/>
            <p:cNvGrpSpPr/>
            <p:nvPr/>
          </p:nvGrpSpPr>
          <p:grpSpPr>
            <a:xfrm>
              <a:off x="2913022" y="5138095"/>
              <a:ext cx="382346" cy="353258"/>
              <a:chOff x="1898168" y="2863013"/>
              <a:chExt cx="271167" cy="236764"/>
            </a:xfrm>
          </p:grpSpPr>
          <p:sp>
            <p:nvSpPr>
              <p:cNvPr id="14" name="Freihandform 13"/>
              <p:cNvSpPr/>
              <p:nvPr/>
            </p:nvSpPr>
            <p:spPr>
              <a:xfrm>
                <a:off x="1898168" y="2976530"/>
                <a:ext cx="271167" cy="6306"/>
              </a:xfrm>
              <a:custGeom>
                <a:avLst/>
                <a:gdLst>
                  <a:gd name="connsiteX0" fmla="*/ 0 w 271167"/>
                  <a:gd name="connsiteY0" fmla="*/ 0 h 6306"/>
                  <a:gd name="connsiteX1" fmla="*/ 0 w 271167"/>
                  <a:gd name="connsiteY1" fmla="*/ 0 h 6306"/>
                  <a:gd name="connsiteX2" fmla="*/ 227024 w 271167"/>
                  <a:gd name="connsiteY2" fmla="*/ 6306 h 6306"/>
                  <a:gd name="connsiteX3" fmla="*/ 271167 w 271167"/>
                  <a:gd name="connsiteY3" fmla="*/ 0 h 6306"/>
                  <a:gd name="connsiteX4" fmla="*/ 271167 w 271167"/>
                  <a:gd name="connsiteY4" fmla="*/ 0 h 6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167" h="6306">
                    <a:moveTo>
                      <a:pt x="0" y="0"/>
                    </a:moveTo>
                    <a:lnTo>
                      <a:pt x="0" y="0"/>
                    </a:lnTo>
                    <a:cubicBezTo>
                      <a:pt x="75675" y="2102"/>
                      <a:pt x="151320" y="6306"/>
                      <a:pt x="227024" y="6306"/>
                    </a:cubicBezTo>
                    <a:cubicBezTo>
                      <a:pt x="241888" y="6306"/>
                      <a:pt x="271167" y="0"/>
                      <a:pt x="271167" y="0"/>
                    </a:cubicBezTo>
                    <a:lnTo>
                      <a:pt x="271167" y="0"/>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600"/>
              </a:p>
            </p:txBody>
          </p:sp>
          <p:sp>
            <p:nvSpPr>
              <p:cNvPr id="15" name="Ellipse 14"/>
              <p:cNvSpPr/>
              <p:nvPr/>
            </p:nvSpPr>
            <p:spPr>
              <a:xfrm>
                <a:off x="1988032" y="2863013"/>
                <a:ext cx="45719" cy="4571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2400" dirty="0" smtClean="0">
                  <a:solidFill>
                    <a:schemeClr val="tx1"/>
                  </a:solidFill>
                </a:endParaRPr>
              </a:p>
            </p:txBody>
          </p:sp>
          <p:sp>
            <p:nvSpPr>
              <p:cNvPr id="16" name="Ellipse 15"/>
              <p:cNvSpPr/>
              <p:nvPr/>
            </p:nvSpPr>
            <p:spPr>
              <a:xfrm>
                <a:off x="1997491" y="3054058"/>
                <a:ext cx="45719" cy="4571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2400" dirty="0" smtClean="0">
                  <a:solidFill>
                    <a:schemeClr val="tx1"/>
                  </a:solidFill>
                </a:endParaRPr>
              </a:p>
            </p:txBody>
          </p:sp>
        </p:grpSp>
      </p:grpSp>
      <p:pic>
        <p:nvPicPr>
          <p:cNvPr id="26" name="Grafik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65110" y="2754644"/>
            <a:ext cx="1884116" cy="855480"/>
          </a:xfrm>
          <a:prstGeom prst="rect">
            <a:avLst/>
          </a:prstGeom>
          <a:effectLst>
            <a:outerShdw blurRad="50800" dist="38100" dir="2700000" algn="tl" rotWithShape="0">
              <a:prstClr val="black">
                <a:alpha val="40000"/>
              </a:prstClr>
            </a:outerShdw>
          </a:effectLst>
        </p:spPr>
      </p:pic>
      <p:pic>
        <p:nvPicPr>
          <p:cNvPr id="27" name="Grafik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072779">
            <a:off x="-2176055" y="2754643"/>
            <a:ext cx="1884116" cy="855480"/>
          </a:xfrm>
          <a:prstGeom prst="rect">
            <a:avLst/>
          </a:prstGeom>
          <a:effectLst>
            <a:outerShdw blurRad="50800" dist="38100" dir="2700000" algn="tl" rotWithShape="0">
              <a:prstClr val="black">
                <a:alpha val="40000"/>
              </a:prstClr>
            </a:outerShdw>
          </a:effectLst>
        </p:spPr>
      </p:pic>
      <p:grpSp>
        <p:nvGrpSpPr>
          <p:cNvPr id="17" name="Gruppieren 16"/>
          <p:cNvGrpSpPr/>
          <p:nvPr/>
        </p:nvGrpSpPr>
        <p:grpSpPr>
          <a:xfrm>
            <a:off x="7508269" y="4686256"/>
            <a:ext cx="1168362" cy="2945318"/>
            <a:chOff x="8974260" y="3385711"/>
            <a:chExt cx="828624" cy="1974042"/>
          </a:xfrm>
        </p:grpSpPr>
        <p:grpSp>
          <p:nvGrpSpPr>
            <p:cNvPr id="18" name="Gruppieren 17"/>
            <p:cNvGrpSpPr/>
            <p:nvPr/>
          </p:nvGrpSpPr>
          <p:grpSpPr>
            <a:xfrm rot="8762874">
              <a:off x="8974260" y="3385711"/>
              <a:ext cx="240847" cy="1974042"/>
              <a:chOff x="8675657" y="2646996"/>
              <a:chExt cx="240847" cy="1974042"/>
            </a:xfrm>
            <a:solidFill>
              <a:schemeClr val="bg2"/>
            </a:solidFill>
          </p:grpSpPr>
          <p:sp>
            <p:nvSpPr>
              <p:cNvPr id="22" name="Rechteck 21"/>
              <p:cNvSpPr/>
              <p:nvPr/>
            </p:nvSpPr>
            <p:spPr>
              <a:xfrm>
                <a:off x="8694594" y="2646996"/>
                <a:ext cx="201405" cy="1551334"/>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2000" dirty="0" smtClean="0">
                  <a:solidFill>
                    <a:schemeClr val="tx1"/>
                  </a:solidFill>
                </a:endParaRPr>
              </a:p>
            </p:txBody>
          </p:sp>
          <p:sp>
            <p:nvSpPr>
              <p:cNvPr id="23" name="Gleichschenkliges Dreieck 22"/>
              <p:cNvSpPr/>
              <p:nvPr/>
            </p:nvSpPr>
            <p:spPr>
              <a:xfrm rot="10800000">
                <a:off x="8675657" y="4240328"/>
                <a:ext cx="240847" cy="38071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2000" dirty="0" smtClean="0">
                  <a:solidFill>
                    <a:schemeClr val="tx1"/>
                  </a:solidFill>
                </a:endParaRPr>
              </a:p>
            </p:txBody>
          </p:sp>
        </p:grpSp>
        <p:sp>
          <p:nvSpPr>
            <p:cNvPr id="21" name="Ellipse 20"/>
            <p:cNvSpPr/>
            <p:nvPr/>
          </p:nvSpPr>
          <p:spPr>
            <a:xfrm rot="19738401">
              <a:off x="9573004" y="5142817"/>
              <a:ext cx="229880" cy="13046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2000" dirty="0" smtClean="0">
                <a:solidFill>
                  <a:schemeClr val="tx1"/>
                </a:solidFill>
              </a:endParaRPr>
            </a:p>
          </p:txBody>
        </p:sp>
      </p:grpSp>
      <p:sp>
        <p:nvSpPr>
          <p:cNvPr id="25" name="Inhaltsplatzhalter 3"/>
          <p:cNvSpPr txBox="1">
            <a:spLocks/>
          </p:cNvSpPr>
          <p:nvPr/>
        </p:nvSpPr>
        <p:spPr>
          <a:xfrm>
            <a:off x="6762889" y="3887404"/>
            <a:ext cx="2753177" cy="413289"/>
          </a:xfrm>
          <a:prstGeom prst="rect">
            <a:avLst/>
          </a:prstGeom>
        </p:spPr>
        <p:txBody>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4000" b="1" dirty="0" smtClean="0">
                <a:latin typeface="MV Boli" panose="02000500030200090000" pitchFamily="2" charset="0"/>
                <a:cs typeface="MV Boli" panose="02000500030200090000" pitchFamily="2" charset="0"/>
              </a:rPr>
              <a:t>+ 10</a:t>
            </a:r>
          </a:p>
        </p:txBody>
      </p:sp>
      <p:sp>
        <p:nvSpPr>
          <p:cNvPr id="28" name="Inhaltsplatzhalter 3"/>
          <p:cNvSpPr txBox="1">
            <a:spLocks/>
          </p:cNvSpPr>
          <p:nvPr/>
        </p:nvSpPr>
        <p:spPr>
          <a:xfrm>
            <a:off x="6714732" y="4467354"/>
            <a:ext cx="2753177" cy="413289"/>
          </a:xfrm>
          <a:prstGeom prst="rect">
            <a:avLst/>
          </a:prstGeom>
        </p:spPr>
        <p:txBody>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4000" b="1" dirty="0" smtClean="0">
                <a:latin typeface="MV Boli" panose="02000500030200090000" pitchFamily="2" charset="0"/>
                <a:cs typeface="MV Boli" panose="02000500030200090000" pitchFamily="2" charset="0"/>
              </a:rPr>
              <a:t>+ 100</a:t>
            </a:r>
          </a:p>
        </p:txBody>
      </p:sp>
      <p:sp>
        <p:nvSpPr>
          <p:cNvPr id="29" name="Inhaltsplatzhalter 3"/>
          <p:cNvSpPr txBox="1">
            <a:spLocks/>
          </p:cNvSpPr>
          <p:nvPr/>
        </p:nvSpPr>
        <p:spPr>
          <a:xfrm>
            <a:off x="6711573" y="5100127"/>
            <a:ext cx="2753177" cy="413289"/>
          </a:xfrm>
          <a:prstGeom prst="rect">
            <a:avLst/>
          </a:prstGeom>
        </p:spPr>
        <p:txBody>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4000" b="1" dirty="0" smtClean="0">
                <a:solidFill>
                  <a:schemeClr val="accent6"/>
                </a:solidFill>
                <a:latin typeface="MV Boli" panose="02000500030200090000" pitchFamily="2" charset="0"/>
                <a:cs typeface="MV Boli" panose="02000500030200090000" pitchFamily="2" charset="0"/>
              </a:rPr>
              <a:t>+ 1000</a:t>
            </a:r>
          </a:p>
        </p:txBody>
      </p:sp>
      <p:sp>
        <p:nvSpPr>
          <p:cNvPr id="19" name="Freihandform 18"/>
          <p:cNvSpPr/>
          <p:nvPr/>
        </p:nvSpPr>
        <p:spPr>
          <a:xfrm>
            <a:off x="7014202" y="3887404"/>
            <a:ext cx="931619" cy="579950"/>
          </a:xfrm>
          <a:custGeom>
            <a:avLst/>
            <a:gdLst>
              <a:gd name="connsiteX0" fmla="*/ 0 w 624314"/>
              <a:gd name="connsiteY0" fmla="*/ 359453 h 359453"/>
              <a:gd name="connsiteX1" fmla="*/ 0 w 624314"/>
              <a:gd name="connsiteY1" fmla="*/ 359453 h 359453"/>
              <a:gd name="connsiteX2" fmla="*/ 56756 w 624314"/>
              <a:gd name="connsiteY2" fmla="*/ 334229 h 359453"/>
              <a:gd name="connsiteX3" fmla="*/ 435128 w 624314"/>
              <a:gd name="connsiteY3" fmla="*/ 119818 h 359453"/>
              <a:gd name="connsiteX4" fmla="*/ 586477 w 624314"/>
              <a:gd name="connsiteY4" fmla="*/ 31531 h 359453"/>
              <a:gd name="connsiteX5" fmla="*/ 599090 w 624314"/>
              <a:gd name="connsiteY5" fmla="*/ 18918 h 359453"/>
              <a:gd name="connsiteX6" fmla="*/ 624314 w 624314"/>
              <a:gd name="connsiteY6" fmla="*/ 0 h 359453"/>
              <a:gd name="connsiteX7" fmla="*/ 624314 w 624314"/>
              <a:gd name="connsiteY7" fmla="*/ 0 h 35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314" h="359453">
                <a:moveTo>
                  <a:pt x="0" y="359453"/>
                </a:moveTo>
                <a:lnTo>
                  <a:pt x="0" y="359453"/>
                </a:lnTo>
                <a:cubicBezTo>
                  <a:pt x="18919" y="351045"/>
                  <a:pt x="38621" y="344216"/>
                  <a:pt x="56756" y="334229"/>
                </a:cubicBezTo>
                <a:cubicBezTo>
                  <a:pt x="183739" y="264296"/>
                  <a:pt x="300531" y="173659"/>
                  <a:pt x="435128" y="119818"/>
                </a:cubicBezTo>
                <a:cubicBezTo>
                  <a:pt x="506438" y="91293"/>
                  <a:pt x="474115" y="106439"/>
                  <a:pt x="586477" y="31531"/>
                </a:cubicBezTo>
                <a:cubicBezTo>
                  <a:pt x="591424" y="28233"/>
                  <a:pt x="594522" y="22724"/>
                  <a:pt x="599090" y="18918"/>
                </a:cubicBezTo>
                <a:cubicBezTo>
                  <a:pt x="607164" y="12190"/>
                  <a:pt x="624314" y="0"/>
                  <a:pt x="624314" y="0"/>
                </a:cubicBezTo>
                <a:lnTo>
                  <a:pt x="624314" y="0"/>
                </a:ln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p:nvSpPr>
        <p:spPr>
          <a:xfrm flipH="1">
            <a:off x="7014199" y="3887404"/>
            <a:ext cx="931619" cy="579950"/>
          </a:xfrm>
          <a:custGeom>
            <a:avLst/>
            <a:gdLst>
              <a:gd name="connsiteX0" fmla="*/ 0 w 624314"/>
              <a:gd name="connsiteY0" fmla="*/ 359453 h 359453"/>
              <a:gd name="connsiteX1" fmla="*/ 0 w 624314"/>
              <a:gd name="connsiteY1" fmla="*/ 359453 h 359453"/>
              <a:gd name="connsiteX2" fmla="*/ 56756 w 624314"/>
              <a:gd name="connsiteY2" fmla="*/ 334229 h 359453"/>
              <a:gd name="connsiteX3" fmla="*/ 435128 w 624314"/>
              <a:gd name="connsiteY3" fmla="*/ 119818 h 359453"/>
              <a:gd name="connsiteX4" fmla="*/ 586477 w 624314"/>
              <a:gd name="connsiteY4" fmla="*/ 31531 h 359453"/>
              <a:gd name="connsiteX5" fmla="*/ 599090 w 624314"/>
              <a:gd name="connsiteY5" fmla="*/ 18918 h 359453"/>
              <a:gd name="connsiteX6" fmla="*/ 624314 w 624314"/>
              <a:gd name="connsiteY6" fmla="*/ 0 h 359453"/>
              <a:gd name="connsiteX7" fmla="*/ 624314 w 624314"/>
              <a:gd name="connsiteY7" fmla="*/ 0 h 35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314" h="359453">
                <a:moveTo>
                  <a:pt x="0" y="359453"/>
                </a:moveTo>
                <a:lnTo>
                  <a:pt x="0" y="359453"/>
                </a:lnTo>
                <a:cubicBezTo>
                  <a:pt x="18919" y="351045"/>
                  <a:pt x="38621" y="344216"/>
                  <a:pt x="56756" y="334229"/>
                </a:cubicBezTo>
                <a:cubicBezTo>
                  <a:pt x="183739" y="264296"/>
                  <a:pt x="300531" y="173659"/>
                  <a:pt x="435128" y="119818"/>
                </a:cubicBezTo>
                <a:cubicBezTo>
                  <a:pt x="506438" y="91293"/>
                  <a:pt x="474115" y="106439"/>
                  <a:pt x="586477" y="31531"/>
                </a:cubicBezTo>
                <a:cubicBezTo>
                  <a:pt x="591424" y="28233"/>
                  <a:pt x="594522" y="22724"/>
                  <a:pt x="599090" y="18918"/>
                </a:cubicBezTo>
                <a:cubicBezTo>
                  <a:pt x="607164" y="12190"/>
                  <a:pt x="624314" y="0"/>
                  <a:pt x="624314" y="0"/>
                </a:cubicBezTo>
                <a:lnTo>
                  <a:pt x="624314" y="0"/>
                </a:ln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reihandform 30"/>
          <p:cNvSpPr/>
          <p:nvPr/>
        </p:nvSpPr>
        <p:spPr>
          <a:xfrm>
            <a:off x="7035715" y="4524250"/>
            <a:ext cx="1187580" cy="509201"/>
          </a:xfrm>
          <a:custGeom>
            <a:avLst/>
            <a:gdLst>
              <a:gd name="connsiteX0" fmla="*/ 0 w 624314"/>
              <a:gd name="connsiteY0" fmla="*/ 359453 h 359453"/>
              <a:gd name="connsiteX1" fmla="*/ 0 w 624314"/>
              <a:gd name="connsiteY1" fmla="*/ 359453 h 359453"/>
              <a:gd name="connsiteX2" fmla="*/ 56756 w 624314"/>
              <a:gd name="connsiteY2" fmla="*/ 334229 h 359453"/>
              <a:gd name="connsiteX3" fmla="*/ 435128 w 624314"/>
              <a:gd name="connsiteY3" fmla="*/ 119818 h 359453"/>
              <a:gd name="connsiteX4" fmla="*/ 586477 w 624314"/>
              <a:gd name="connsiteY4" fmla="*/ 31531 h 359453"/>
              <a:gd name="connsiteX5" fmla="*/ 599090 w 624314"/>
              <a:gd name="connsiteY5" fmla="*/ 18918 h 359453"/>
              <a:gd name="connsiteX6" fmla="*/ 624314 w 624314"/>
              <a:gd name="connsiteY6" fmla="*/ 0 h 359453"/>
              <a:gd name="connsiteX7" fmla="*/ 624314 w 624314"/>
              <a:gd name="connsiteY7" fmla="*/ 0 h 35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314" h="359453">
                <a:moveTo>
                  <a:pt x="0" y="359453"/>
                </a:moveTo>
                <a:lnTo>
                  <a:pt x="0" y="359453"/>
                </a:lnTo>
                <a:cubicBezTo>
                  <a:pt x="18919" y="351045"/>
                  <a:pt x="38621" y="344216"/>
                  <a:pt x="56756" y="334229"/>
                </a:cubicBezTo>
                <a:cubicBezTo>
                  <a:pt x="183739" y="264296"/>
                  <a:pt x="300531" y="173659"/>
                  <a:pt x="435128" y="119818"/>
                </a:cubicBezTo>
                <a:cubicBezTo>
                  <a:pt x="506438" y="91293"/>
                  <a:pt x="474115" y="106439"/>
                  <a:pt x="586477" y="31531"/>
                </a:cubicBezTo>
                <a:cubicBezTo>
                  <a:pt x="591424" y="28233"/>
                  <a:pt x="594522" y="22724"/>
                  <a:pt x="599090" y="18918"/>
                </a:cubicBezTo>
                <a:cubicBezTo>
                  <a:pt x="607164" y="12190"/>
                  <a:pt x="624314" y="0"/>
                  <a:pt x="624314" y="0"/>
                </a:cubicBezTo>
                <a:lnTo>
                  <a:pt x="624314" y="0"/>
                </a:ln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reihandform 31"/>
          <p:cNvSpPr/>
          <p:nvPr/>
        </p:nvSpPr>
        <p:spPr>
          <a:xfrm flipH="1">
            <a:off x="7035713" y="4524250"/>
            <a:ext cx="1187580" cy="509201"/>
          </a:xfrm>
          <a:custGeom>
            <a:avLst/>
            <a:gdLst>
              <a:gd name="connsiteX0" fmla="*/ 0 w 624314"/>
              <a:gd name="connsiteY0" fmla="*/ 359453 h 359453"/>
              <a:gd name="connsiteX1" fmla="*/ 0 w 624314"/>
              <a:gd name="connsiteY1" fmla="*/ 359453 h 359453"/>
              <a:gd name="connsiteX2" fmla="*/ 56756 w 624314"/>
              <a:gd name="connsiteY2" fmla="*/ 334229 h 359453"/>
              <a:gd name="connsiteX3" fmla="*/ 435128 w 624314"/>
              <a:gd name="connsiteY3" fmla="*/ 119818 h 359453"/>
              <a:gd name="connsiteX4" fmla="*/ 586477 w 624314"/>
              <a:gd name="connsiteY4" fmla="*/ 31531 h 359453"/>
              <a:gd name="connsiteX5" fmla="*/ 599090 w 624314"/>
              <a:gd name="connsiteY5" fmla="*/ 18918 h 359453"/>
              <a:gd name="connsiteX6" fmla="*/ 624314 w 624314"/>
              <a:gd name="connsiteY6" fmla="*/ 0 h 359453"/>
              <a:gd name="connsiteX7" fmla="*/ 624314 w 624314"/>
              <a:gd name="connsiteY7" fmla="*/ 0 h 35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314" h="359453">
                <a:moveTo>
                  <a:pt x="0" y="359453"/>
                </a:moveTo>
                <a:lnTo>
                  <a:pt x="0" y="359453"/>
                </a:lnTo>
                <a:cubicBezTo>
                  <a:pt x="18919" y="351045"/>
                  <a:pt x="38621" y="344216"/>
                  <a:pt x="56756" y="334229"/>
                </a:cubicBezTo>
                <a:cubicBezTo>
                  <a:pt x="183739" y="264296"/>
                  <a:pt x="300531" y="173659"/>
                  <a:pt x="435128" y="119818"/>
                </a:cubicBezTo>
                <a:cubicBezTo>
                  <a:pt x="506438" y="91293"/>
                  <a:pt x="474115" y="106439"/>
                  <a:pt x="586477" y="31531"/>
                </a:cubicBezTo>
                <a:cubicBezTo>
                  <a:pt x="591424" y="28233"/>
                  <a:pt x="594522" y="22724"/>
                  <a:pt x="599090" y="18918"/>
                </a:cubicBezTo>
                <a:cubicBezTo>
                  <a:pt x="607164" y="12190"/>
                  <a:pt x="624314" y="0"/>
                  <a:pt x="624314" y="0"/>
                </a:cubicBezTo>
                <a:lnTo>
                  <a:pt x="624314" y="0"/>
                </a:ln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211420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withEffect">
                                  <p:stCondLst>
                                    <p:cond delay="2600"/>
                                  </p:stCondLst>
                                  <p:childTnLst>
                                    <p:animMotion origin="layout" path="M 0.00288 -1.15687E-6 C 0.00128 -0.0162 -0.00241 -0.03008 -0.00689 -0.04512 C -0.00914 -0.05252 -0.01026 -0.05969 -0.0125 -0.0671 C -0.01298 -0.06872 -0.01394 -0.07172 -0.01394 -0.07149 C -0.01491 -0.07936 -0.01715 -0.08653 -0.01923 -0.09371 C -0.02019 -0.09694 -0.02276 -0.10296 -0.02276 -0.10273 C -0.02372 -0.10782 -0.02532 -0.11198 -0.02772 -0.11592 C -0.03349 -0.13836 -0.03029 -0.12078 0.01169 -0.12031 C 0.04134 -0.11985 0.07082 -0.11985 0.10046 -0.11962 C 0.10831 -0.11985 0.12401 -0.12031 0.12401 -0.12008 " pathEditMode="relative" rAng="0" ptsTypes="fffffffffA">
                                      <p:cBhvr>
                                        <p:cTn id="6" dur="2000" fill="hold"/>
                                        <p:tgtEl>
                                          <p:spTgt spid="17"/>
                                        </p:tgtEl>
                                        <p:attrNameLst>
                                          <p:attrName>ppt_x</p:attrName>
                                          <p:attrName>ppt_y</p:attrName>
                                        </p:attrNameLst>
                                      </p:cBhvr>
                                      <p:rCtr x="4230" y="-6918"/>
                                    </p:animMotion>
                                  </p:childTnLst>
                                </p:cTn>
                              </p:par>
                              <p:par>
                                <p:cTn id="7" presetID="22" presetClass="entr" presetSubtype="8" fill="hold" grpId="0" nodeType="withEffect">
                                  <p:stCondLst>
                                    <p:cond delay="3500"/>
                                  </p:stCondLst>
                                  <p:childTnLst>
                                    <p:set>
                                      <p:cBhvr>
                                        <p:cTn id="8" dur="1" fill="hold">
                                          <p:stCondLst>
                                            <p:cond delay="0"/>
                                          </p:stCondLst>
                                        </p:cTn>
                                        <p:tgtEl>
                                          <p:spTgt spid="25"/>
                                        </p:tgtEl>
                                        <p:attrNameLst>
                                          <p:attrName>style.visibility</p:attrName>
                                        </p:attrNameLst>
                                      </p:cBhvr>
                                      <p:to>
                                        <p:strVal val="visible"/>
                                      </p:to>
                                    </p:set>
                                    <p:animEffect transition="in" filter="wipe(left)">
                                      <p:cBhvr>
                                        <p:cTn id="9" dur="1100"/>
                                        <p:tgtEl>
                                          <p:spTgt spid="25"/>
                                        </p:tgtEl>
                                      </p:cBhvr>
                                    </p:animEffect>
                                  </p:childTnLst>
                                </p:cTn>
                              </p:par>
                              <p:par>
                                <p:cTn id="10" presetID="22" presetClass="entr" presetSubtype="8" fill="hold" grpId="0" nodeType="withEffect">
                                  <p:stCondLst>
                                    <p:cond delay="460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500"/>
                                        <p:tgtEl>
                                          <p:spTgt spid="19"/>
                                        </p:tgtEl>
                                      </p:cBhvr>
                                    </p:animEffect>
                                  </p:childTnLst>
                                </p:cTn>
                              </p:par>
                              <p:par>
                                <p:cTn id="13" presetID="22" presetClass="entr" presetSubtype="8" fill="hold" grpId="0" nodeType="withEffect">
                                  <p:stCondLst>
                                    <p:cond delay="5200"/>
                                  </p:stCondLst>
                                  <p:childTnLst>
                                    <p:set>
                                      <p:cBhvr>
                                        <p:cTn id="14" dur="1" fill="hold">
                                          <p:stCondLst>
                                            <p:cond delay="0"/>
                                          </p:stCondLst>
                                        </p:cTn>
                                        <p:tgtEl>
                                          <p:spTgt spid="30"/>
                                        </p:tgtEl>
                                        <p:attrNameLst>
                                          <p:attrName>style.visibility</p:attrName>
                                        </p:attrNameLst>
                                      </p:cBhvr>
                                      <p:to>
                                        <p:strVal val="visible"/>
                                      </p:to>
                                    </p:set>
                                    <p:animEffect transition="in" filter="wipe(left)">
                                      <p:cBhvr>
                                        <p:cTn id="15" dur="500"/>
                                        <p:tgtEl>
                                          <p:spTgt spid="30"/>
                                        </p:tgtEl>
                                      </p:cBhvr>
                                    </p:animEffect>
                                  </p:childTnLst>
                                </p:cTn>
                              </p:par>
                              <p:par>
                                <p:cTn id="16" presetID="0" presetClass="path" presetSubtype="0" accel="50000" decel="50000" fill="hold" nodeType="withEffect">
                                  <p:stCondLst>
                                    <p:cond delay="6500"/>
                                  </p:stCondLst>
                                  <p:childTnLst>
                                    <p:animMotion origin="layout" path="M 0.12401 -0.12008 C 0.12097 -0.11707 0.11873 -0.11407 0.1152 -0.11198 C 0.11168 -0.1099 0.10783 -0.10898 0.10431 -0.10643 C 0.09581 -0.10018 0.08716 -0.0944 0.07883 -0.08792 C 0.07643 -0.08607 0.07434 -0.08329 0.07178 -0.08144 C 0.06024 -0.07334 0.04726 -0.06918 0.03557 -0.06131 C 0.02499 -0.05437 0.01394 -0.04882 0.00368 -0.04118 C 3.72697E-6 -0.03841 -0.00305 -0.03563 -0.00705 -0.03378 C -0.0085 -0.03309 -0.0109 -0.03008 -0.0109 -0.02985 C 0.02595 -0.01689 0.10655 -0.028 0.14997 -0.028 " pathEditMode="relative" rAng="0" ptsTypes="ffffffffff">
                                      <p:cBhvr>
                                        <p:cTn id="17" dur="2000" fill="hold"/>
                                        <p:tgtEl>
                                          <p:spTgt spid="17"/>
                                        </p:tgtEl>
                                        <p:attrNameLst>
                                          <p:attrName>ppt_x</p:attrName>
                                          <p:attrName>ppt_y</p:attrName>
                                        </p:attrNameLst>
                                      </p:cBhvr>
                                      <p:rCtr x="-5448" y="5160"/>
                                    </p:animMotion>
                                  </p:childTnLst>
                                </p:cTn>
                              </p:par>
                              <p:par>
                                <p:cTn id="18" presetID="22" presetClass="entr" presetSubtype="8" fill="hold" grpId="0" nodeType="withEffect">
                                  <p:stCondLst>
                                    <p:cond delay="7200"/>
                                  </p:stCondLst>
                                  <p:childTnLst>
                                    <p:set>
                                      <p:cBhvr>
                                        <p:cTn id="19" dur="1" fill="hold">
                                          <p:stCondLst>
                                            <p:cond delay="0"/>
                                          </p:stCondLst>
                                        </p:cTn>
                                        <p:tgtEl>
                                          <p:spTgt spid="28"/>
                                        </p:tgtEl>
                                        <p:attrNameLst>
                                          <p:attrName>style.visibility</p:attrName>
                                        </p:attrNameLst>
                                      </p:cBhvr>
                                      <p:to>
                                        <p:strVal val="visible"/>
                                      </p:to>
                                    </p:set>
                                    <p:animEffect transition="in" filter="wipe(left)">
                                      <p:cBhvr>
                                        <p:cTn id="20" dur="1300"/>
                                        <p:tgtEl>
                                          <p:spTgt spid="28"/>
                                        </p:tgtEl>
                                      </p:cBhvr>
                                    </p:animEffect>
                                  </p:childTnLst>
                                </p:cTn>
                              </p:par>
                              <p:par>
                                <p:cTn id="21" presetID="22" presetClass="entr" presetSubtype="8" fill="hold" grpId="0" nodeType="withEffect">
                                  <p:stCondLst>
                                    <p:cond delay="8400"/>
                                  </p:stCondLst>
                                  <p:childTnLst>
                                    <p:set>
                                      <p:cBhvr>
                                        <p:cTn id="22" dur="1" fill="hold">
                                          <p:stCondLst>
                                            <p:cond delay="0"/>
                                          </p:stCondLst>
                                        </p:cTn>
                                        <p:tgtEl>
                                          <p:spTgt spid="31"/>
                                        </p:tgtEl>
                                        <p:attrNameLst>
                                          <p:attrName>style.visibility</p:attrName>
                                        </p:attrNameLst>
                                      </p:cBhvr>
                                      <p:to>
                                        <p:strVal val="visible"/>
                                      </p:to>
                                    </p:set>
                                    <p:animEffect transition="in" filter="wipe(left)">
                                      <p:cBhvr>
                                        <p:cTn id="23" dur="500"/>
                                        <p:tgtEl>
                                          <p:spTgt spid="31"/>
                                        </p:tgtEl>
                                      </p:cBhvr>
                                    </p:animEffect>
                                  </p:childTnLst>
                                </p:cTn>
                              </p:par>
                              <p:par>
                                <p:cTn id="24" presetID="22" presetClass="entr" presetSubtype="8" fill="hold" grpId="0" nodeType="withEffect">
                                  <p:stCondLst>
                                    <p:cond delay="8900"/>
                                  </p:stCondLst>
                                  <p:childTnLst>
                                    <p:set>
                                      <p:cBhvr>
                                        <p:cTn id="25" dur="1" fill="hold">
                                          <p:stCondLst>
                                            <p:cond delay="0"/>
                                          </p:stCondLst>
                                        </p:cTn>
                                        <p:tgtEl>
                                          <p:spTgt spid="32"/>
                                        </p:tgtEl>
                                        <p:attrNameLst>
                                          <p:attrName>style.visibility</p:attrName>
                                        </p:attrNameLst>
                                      </p:cBhvr>
                                      <p:to>
                                        <p:strVal val="visible"/>
                                      </p:to>
                                    </p:set>
                                    <p:animEffect transition="in" filter="wipe(left)">
                                      <p:cBhvr>
                                        <p:cTn id="26" dur="500"/>
                                        <p:tgtEl>
                                          <p:spTgt spid="32"/>
                                        </p:tgtEl>
                                      </p:cBhvr>
                                    </p:animEffect>
                                  </p:childTnLst>
                                </p:cTn>
                              </p:par>
                              <p:par>
                                <p:cTn id="27" presetID="0" presetClass="path" presetSubtype="0" accel="50000" decel="50000" fill="hold" nodeType="withEffect">
                                  <p:stCondLst>
                                    <p:cond delay="10200"/>
                                  </p:stCondLst>
                                  <p:childTnLst>
                                    <p:animMotion origin="layout" path="M 0.14997 -0.028 C 0.14516 -0.02569 0.1402 -0.02222 0.13539 -0.0206 C 0.12145 -0.01574 0.1051 -0.01481 0.09149 -0.00787 C 0.08171 -0.00301 0.07578 0.00324 0.06665 0.00879 C 0.0628 0.0111 0.05912 0.01365 0.05511 0.01527 C 0.05367 0.01596 0.05207 0.01619 0.05063 0.01712 C 0.03669 0.02545 0.02355 0.03586 0.00929 0.0428 C 0.0048 0.04789 0.00015 0.0502 -0.00529 0.05275 C 0.0064 0.05368 0.01794 0.05691 0.02964 0.0583 C 0.06361 0.06802 0.09886 0.06062 0.13347 0.06108 C 0.15301 0.06131 0.1724 0.062 0.19195 0.062 " pathEditMode="relative" ptsTypes="ffffffffffA">
                                      <p:cBhvr>
                                        <p:cTn id="28" dur="2000" fill="hold"/>
                                        <p:tgtEl>
                                          <p:spTgt spid="17"/>
                                        </p:tgtEl>
                                        <p:attrNameLst>
                                          <p:attrName>ppt_x</p:attrName>
                                          <p:attrName>ppt_y</p:attrName>
                                        </p:attrNameLst>
                                      </p:cBhvr>
                                    </p:animMotion>
                                  </p:childTnLst>
                                </p:cTn>
                              </p:par>
                              <p:par>
                                <p:cTn id="29" presetID="22" presetClass="entr" presetSubtype="8" fill="hold" grpId="0" nodeType="withEffect">
                                  <p:stCondLst>
                                    <p:cond delay="11000"/>
                                  </p:stCondLst>
                                  <p:childTnLst>
                                    <p:set>
                                      <p:cBhvr>
                                        <p:cTn id="30" dur="1" fill="hold">
                                          <p:stCondLst>
                                            <p:cond delay="0"/>
                                          </p:stCondLst>
                                        </p:cTn>
                                        <p:tgtEl>
                                          <p:spTgt spid="29"/>
                                        </p:tgtEl>
                                        <p:attrNameLst>
                                          <p:attrName>style.visibility</p:attrName>
                                        </p:attrNameLst>
                                      </p:cBhvr>
                                      <p:to>
                                        <p:strVal val="visible"/>
                                      </p:to>
                                    </p:set>
                                    <p:animEffect transition="in" filter="wipe(left)">
                                      <p:cBhvr>
                                        <p:cTn id="31" dur="12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8" grpId="0"/>
      <p:bldP spid="29" grpId="0"/>
      <p:bldP spid="19" grpId="0" animBg="1"/>
      <p:bldP spid="30" grpId="0" animBg="1"/>
      <p:bldP spid="31" grpId="0" animBg="1"/>
      <p:bldP spid="3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a:xfrm>
            <a:off x="0" y="15766"/>
            <a:ext cx="990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14" name="Inhaltsplatzhalter 6"/>
          <p:cNvSpPr txBox="1">
            <a:spLocks/>
          </p:cNvSpPr>
          <p:nvPr>
            <p:custDataLst>
              <p:tags r:id="rId2"/>
            </p:custDataLst>
          </p:nvPr>
        </p:nvSpPr>
        <p:spPr>
          <a:xfrm>
            <a:off x="0" y="3181350"/>
            <a:ext cx="9906000" cy="495300"/>
          </a:xfrm>
          <a:prstGeom prst="rect">
            <a:avLst/>
          </a:prstGeom>
        </p:spPr>
        <p:txBody>
          <a:bodyPr vert="horz" wrap="square" lIns="0" tIns="0" rIns="0" bIns="0" rtlCol="0">
            <a:normAutofit/>
          </a:bodyPr>
          <a:lstStyle>
            <a:lvl1pPr marL="0" indent="0" algn="l" defTabSz="914400" rtl="0" eaLnBrk="1" latinLnBrk="0" hangingPunct="1">
              <a:lnSpc>
                <a:spcPts val="3600"/>
              </a:lnSpc>
              <a:spcBef>
                <a:spcPts val="200"/>
              </a:spcBef>
              <a:buClr>
                <a:schemeClr val="tx2"/>
              </a:buClr>
              <a:buFont typeface="Wingdings" pitchFamily="2" charset="2"/>
              <a:buNone/>
              <a:defRPr sz="2000" kern="1200">
                <a:solidFill>
                  <a:schemeClr val="tx2"/>
                </a:solidFill>
                <a:latin typeface="+mn-lt"/>
                <a:ea typeface="+mn-ea"/>
                <a:cs typeface="+mn-cs"/>
              </a:defRPr>
            </a:lvl1pPr>
            <a:lvl2pPr marL="180975" indent="-180975" algn="l" defTabSz="914400" rtl="0" eaLnBrk="1" latinLnBrk="0" hangingPunct="1">
              <a:lnSpc>
                <a:spcPts val="3600"/>
              </a:lnSpc>
              <a:spcBef>
                <a:spcPts val="200"/>
              </a:spcBef>
              <a:buClr>
                <a:schemeClr val="tx2"/>
              </a:buClr>
              <a:buFont typeface="Wingdings" pitchFamily="2" charset="2"/>
              <a:buChar char="§"/>
              <a:defRPr sz="2000" kern="1200">
                <a:solidFill>
                  <a:schemeClr val="tx2"/>
                </a:solidFill>
                <a:latin typeface="+mn-lt"/>
                <a:ea typeface="+mn-ea"/>
                <a:cs typeface="+mn-cs"/>
              </a:defRPr>
            </a:lvl2pPr>
            <a:lvl3pPr marL="355600" indent="-174625" algn="l" defTabSz="914400" rtl="0" eaLnBrk="1" latinLnBrk="0" hangingPunct="1">
              <a:lnSpc>
                <a:spcPts val="3600"/>
              </a:lnSpc>
              <a:spcBef>
                <a:spcPts val="200"/>
              </a:spcBef>
              <a:buClr>
                <a:schemeClr val="tx2"/>
              </a:buClr>
              <a:buFont typeface="Arial" pitchFamily="34" charset="0"/>
              <a:buChar char="–"/>
              <a:defRPr sz="2000" kern="1200">
                <a:solidFill>
                  <a:schemeClr val="tx2"/>
                </a:solidFill>
                <a:latin typeface="+mn-lt"/>
                <a:ea typeface="+mn-ea"/>
                <a:cs typeface="+mn-cs"/>
              </a:defRPr>
            </a:lvl3pPr>
            <a:lvl4pPr marL="538163" indent="-182563" algn="l" defTabSz="914400" rtl="0" eaLnBrk="1" latinLnBrk="0" hangingPunct="1">
              <a:lnSpc>
                <a:spcPts val="3600"/>
              </a:lnSpc>
              <a:spcBef>
                <a:spcPts val="200"/>
              </a:spcBef>
              <a:buClr>
                <a:schemeClr val="tx2"/>
              </a:buClr>
              <a:buFont typeface="Arial" pitchFamily="34" charset="0"/>
              <a:buChar char="•"/>
              <a:defRPr sz="2000" kern="1200">
                <a:solidFill>
                  <a:schemeClr val="tx2"/>
                </a:solidFill>
                <a:latin typeface="+mn-lt"/>
                <a:ea typeface="+mn-ea"/>
                <a:cs typeface="+mn-cs"/>
              </a:defRPr>
            </a:lvl4pPr>
            <a:lvl5pPr marL="719138" indent="-180975" algn="l" defTabSz="914400" rtl="0" eaLnBrk="1" latinLnBrk="0" hangingPunct="1">
              <a:lnSpc>
                <a:spcPts val="3600"/>
              </a:lnSpc>
              <a:spcBef>
                <a:spcPts val="200"/>
              </a:spcBef>
              <a:buClr>
                <a:schemeClr val="tx2"/>
              </a:buClr>
              <a:buFont typeface="Symbol" pitchFamily="18" charset="2"/>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Clr>
                <a:srgbClr val="606060"/>
              </a:buClr>
              <a:buFont typeface="Wingdings" pitchFamily="2" charset="2"/>
              <a:buNone/>
            </a:pPr>
            <a:r>
              <a:rPr lang="en-US" sz="2800" b="1" dirty="0">
                <a:solidFill>
                  <a:srgbClr val="F29A00"/>
                </a:solidFill>
              </a:rPr>
              <a:t>1. </a:t>
            </a:r>
            <a:r>
              <a:rPr lang="en-US" sz="2800" b="1" dirty="0" smtClean="0">
                <a:solidFill>
                  <a:srgbClr val="F29A00"/>
                </a:solidFill>
              </a:rPr>
              <a:t>Das Dilemma von </a:t>
            </a:r>
            <a:r>
              <a:rPr lang="en-US" sz="2800" b="1" dirty="0">
                <a:solidFill>
                  <a:srgbClr val="F29A00"/>
                </a:solidFill>
              </a:rPr>
              <a:t>O</a:t>
            </a:r>
            <a:r>
              <a:rPr lang="en-US" sz="2800" b="1" dirty="0" smtClean="0">
                <a:solidFill>
                  <a:srgbClr val="F29A00"/>
                </a:solidFill>
              </a:rPr>
              <a:t>pen Access</a:t>
            </a:r>
            <a:endParaRPr lang="en-US" sz="2800" b="1" dirty="0">
              <a:solidFill>
                <a:srgbClr val="F29A00"/>
              </a:solidFill>
            </a:endParaRPr>
          </a:p>
        </p:txBody>
      </p:sp>
      <p:grpSp>
        <p:nvGrpSpPr>
          <p:cNvPr id="18" name="Gruppieren 17"/>
          <p:cNvGrpSpPr/>
          <p:nvPr/>
        </p:nvGrpSpPr>
        <p:grpSpPr>
          <a:xfrm>
            <a:off x="0" y="3028950"/>
            <a:ext cx="9906000" cy="704850"/>
            <a:chOff x="0" y="1600200"/>
            <a:chExt cx="9906000" cy="495300"/>
          </a:xfrm>
        </p:grpSpPr>
        <p:cxnSp>
          <p:nvCxnSpPr>
            <p:cNvPr id="19" name="Gerade Verbindung 18"/>
            <p:cNvCxnSpPr/>
            <p:nvPr/>
          </p:nvCxnSpPr>
          <p:spPr>
            <a:xfrm>
              <a:off x="0" y="1600200"/>
              <a:ext cx="990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0" y="2095500"/>
              <a:ext cx="990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aphicFrame>
        <p:nvGraphicFramePr>
          <p:cNvPr id="11" name="Objekt 10" hidden="1"/>
          <p:cNvGraphicFramePr>
            <a:graphicFrameLocks/>
          </p:cNvGraphicFramePr>
          <p:nvPr>
            <p:custDataLst>
              <p:tags r:id="rId3"/>
            </p:custDataLst>
            <p:extLst>
              <p:ext uri="{D42A27DB-BD31-4B8C-83A1-F6EECF244321}">
                <p14:modId xmlns:p14="http://schemas.microsoft.com/office/powerpoint/2010/main" val="18832228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7284" name="think-cell Slide" r:id="rId6" imgW="341" imgH="341" progId="TCLayout.ActiveDocument.1">
                  <p:embed/>
                </p:oleObj>
              </mc:Choice>
              <mc:Fallback>
                <p:oleObj name="think-cell Slide" r:id="rId6" imgW="341" imgH="341"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Foliennummernplatzhalter 4"/>
          <p:cNvSpPr>
            <a:spLocks noGrp="1"/>
          </p:cNvSpPr>
          <p:nvPr>
            <p:ph type="sldNum" sz="quarter" idx="12"/>
            <p:custDataLst>
              <p:tags r:id="rId4"/>
            </p:custDataLst>
          </p:nvPr>
        </p:nvSpPr>
        <p:spPr/>
        <p:txBody>
          <a:bodyPr/>
          <a:lstStyle/>
          <a:p>
            <a:fld id="{4AD1E780-DE1C-4ECA-B5E5-863D0BC53287}" type="slidenum">
              <a:rPr lang="de-DE" smtClean="0">
                <a:solidFill>
                  <a:prstClr val="black">
                    <a:tint val="75000"/>
                  </a:prstClr>
                </a:solidFill>
              </a:rPr>
              <a:pPr/>
              <a:t>2</a:t>
            </a:fld>
            <a:endParaRPr lang="de-DE">
              <a:solidFill>
                <a:prstClr val="black">
                  <a:tint val="75000"/>
                </a:prstClr>
              </a:solidFill>
            </a:endParaRPr>
          </a:p>
        </p:txBody>
      </p:sp>
    </p:spTree>
    <p:extLst>
      <p:ext uri="{BB962C8B-B14F-4D97-AF65-F5344CB8AC3E}">
        <p14:creationId xmlns:p14="http://schemas.microsoft.com/office/powerpoint/2010/main" val="35720127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ihandform 5"/>
          <p:cNvSpPr/>
          <p:nvPr/>
        </p:nvSpPr>
        <p:spPr>
          <a:xfrm rot="20983708">
            <a:off x="621173" y="3915356"/>
            <a:ext cx="7966687" cy="2117693"/>
          </a:xfrm>
          <a:custGeom>
            <a:avLst/>
            <a:gdLst>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2992 w 7780257"/>
              <a:gd name="connsiteY37" fmla="*/ 2855934 h 3757808"/>
              <a:gd name="connsiteX38" fmla="*/ 2649255 w 7780257"/>
              <a:gd name="connsiteY38" fmla="*/ 2968668 h 3757808"/>
              <a:gd name="connsiteX39" fmla="*/ 2743200 w 7780257"/>
              <a:gd name="connsiteY39" fmla="*/ 2931090 h 3757808"/>
              <a:gd name="connsiteX40" fmla="*/ 2686833 w 7780257"/>
              <a:gd name="connsiteY40" fmla="*/ 2824619 h 3757808"/>
              <a:gd name="connsiteX41" fmla="*/ 2636729 w 7780257"/>
              <a:gd name="connsiteY41" fmla="*/ 2812093 h 3757808"/>
              <a:gd name="connsiteX42" fmla="*/ 2542784 w 7780257"/>
              <a:gd name="connsiteY42" fmla="*/ 2855934 h 3757808"/>
              <a:gd name="connsiteX43" fmla="*/ 2730674 w 7780257"/>
              <a:gd name="connsiteY43" fmla="*/ 2874723 h 3757808"/>
              <a:gd name="connsiteX44" fmla="*/ 2780778 w 7780257"/>
              <a:gd name="connsiteY44" fmla="*/ 2887249 h 3757808"/>
              <a:gd name="connsiteX45" fmla="*/ 2874723 w 7780257"/>
              <a:gd name="connsiteY45" fmla="*/ 2937353 h 3757808"/>
              <a:gd name="connsiteX46" fmla="*/ 2931090 w 7780257"/>
              <a:gd name="connsiteY46" fmla="*/ 3018772 h 3757808"/>
              <a:gd name="connsiteX47" fmla="*/ 2931090 w 7780257"/>
              <a:gd name="connsiteY47"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86833 w 7780257"/>
              <a:gd name="connsiteY39" fmla="*/ 2824619 h 3757808"/>
              <a:gd name="connsiteX40" fmla="*/ 2636729 w 7780257"/>
              <a:gd name="connsiteY40" fmla="*/ 2812093 h 3757808"/>
              <a:gd name="connsiteX41" fmla="*/ 2542784 w 7780257"/>
              <a:gd name="connsiteY41" fmla="*/ 2855934 h 3757808"/>
              <a:gd name="connsiteX42" fmla="*/ 2730674 w 7780257"/>
              <a:gd name="connsiteY42" fmla="*/ 2874723 h 3757808"/>
              <a:gd name="connsiteX43" fmla="*/ 2780778 w 7780257"/>
              <a:gd name="connsiteY43" fmla="*/ 2887249 h 3757808"/>
              <a:gd name="connsiteX44" fmla="*/ 2874723 w 7780257"/>
              <a:gd name="connsiteY44" fmla="*/ 2937353 h 3757808"/>
              <a:gd name="connsiteX45" fmla="*/ 2931090 w 7780257"/>
              <a:gd name="connsiteY45" fmla="*/ 3018772 h 3757808"/>
              <a:gd name="connsiteX46" fmla="*/ 2931090 w 7780257"/>
              <a:gd name="connsiteY46"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36729 w 7780257"/>
              <a:gd name="connsiteY39" fmla="*/ 2812093 h 3757808"/>
              <a:gd name="connsiteX40" fmla="*/ 2542784 w 7780257"/>
              <a:gd name="connsiteY40" fmla="*/ 2855934 h 3757808"/>
              <a:gd name="connsiteX41" fmla="*/ 2730674 w 7780257"/>
              <a:gd name="connsiteY41" fmla="*/ 2874723 h 3757808"/>
              <a:gd name="connsiteX42" fmla="*/ 2780778 w 7780257"/>
              <a:gd name="connsiteY42" fmla="*/ 2887249 h 3757808"/>
              <a:gd name="connsiteX43" fmla="*/ 2874723 w 7780257"/>
              <a:gd name="connsiteY43" fmla="*/ 2937353 h 3757808"/>
              <a:gd name="connsiteX44" fmla="*/ 2931090 w 7780257"/>
              <a:gd name="connsiteY44" fmla="*/ 3018772 h 3757808"/>
              <a:gd name="connsiteX45" fmla="*/ 2931090 w 7780257"/>
              <a:gd name="connsiteY45"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743200 w 7780257"/>
              <a:gd name="connsiteY37" fmla="*/ 2931090 h 3757808"/>
              <a:gd name="connsiteX38" fmla="*/ 2636729 w 7780257"/>
              <a:gd name="connsiteY38" fmla="*/ 2812093 h 3757808"/>
              <a:gd name="connsiteX39" fmla="*/ 2542784 w 7780257"/>
              <a:gd name="connsiteY39" fmla="*/ 2855934 h 3757808"/>
              <a:gd name="connsiteX40" fmla="*/ 2730674 w 7780257"/>
              <a:gd name="connsiteY40" fmla="*/ 2874723 h 3757808"/>
              <a:gd name="connsiteX41" fmla="*/ 2780778 w 7780257"/>
              <a:gd name="connsiteY41" fmla="*/ 2887249 h 3757808"/>
              <a:gd name="connsiteX42" fmla="*/ 2874723 w 7780257"/>
              <a:gd name="connsiteY42" fmla="*/ 2937353 h 3757808"/>
              <a:gd name="connsiteX43" fmla="*/ 2931090 w 7780257"/>
              <a:gd name="connsiteY43" fmla="*/ 3018772 h 3757808"/>
              <a:gd name="connsiteX44" fmla="*/ 2931090 w 7780257"/>
              <a:gd name="connsiteY44"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36729 w 7780257"/>
              <a:gd name="connsiteY37" fmla="*/ 2812093 h 3757808"/>
              <a:gd name="connsiteX38" fmla="*/ 2542784 w 7780257"/>
              <a:gd name="connsiteY38" fmla="*/ 2855934 h 3757808"/>
              <a:gd name="connsiteX39" fmla="*/ 2730674 w 7780257"/>
              <a:gd name="connsiteY39" fmla="*/ 2874723 h 3757808"/>
              <a:gd name="connsiteX40" fmla="*/ 2780778 w 7780257"/>
              <a:gd name="connsiteY40" fmla="*/ 2887249 h 3757808"/>
              <a:gd name="connsiteX41" fmla="*/ 2874723 w 7780257"/>
              <a:gd name="connsiteY41" fmla="*/ 2937353 h 3757808"/>
              <a:gd name="connsiteX42" fmla="*/ 2931090 w 7780257"/>
              <a:gd name="connsiteY42" fmla="*/ 3018772 h 3757808"/>
              <a:gd name="connsiteX43" fmla="*/ 2931090 w 7780257"/>
              <a:gd name="connsiteY43"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542784 w 7780257"/>
              <a:gd name="connsiteY37" fmla="*/ 2855934 h 3757808"/>
              <a:gd name="connsiteX38" fmla="*/ 2730674 w 7780257"/>
              <a:gd name="connsiteY38" fmla="*/ 2874723 h 3757808"/>
              <a:gd name="connsiteX39" fmla="*/ 2780778 w 7780257"/>
              <a:gd name="connsiteY39" fmla="*/ 2887249 h 3757808"/>
              <a:gd name="connsiteX40" fmla="*/ 2874723 w 7780257"/>
              <a:gd name="connsiteY40" fmla="*/ 2937353 h 3757808"/>
              <a:gd name="connsiteX41" fmla="*/ 2931090 w 7780257"/>
              <a:gd name="connsiteY41" fmla="*/ 3018772 h 3757808"/>
              <a:gd name="connsiteX42" fmla="*/ 2931090 w 7780257"/>
              <a:gd name="connsiteY42"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492679 w 7780257"/>
              <a:gd name="connsiteY36" fmla="*/ 287472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730674 w 7780257"/>
              <a:gd name="connsiteY36" fmla="*/ 287472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937353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05205 w 7780257"/>
              <a:gd name="connsiteY35" fmla="*/ 2799567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931090 w 7780257"/>
              <a:gd name="connsiteY38"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517732 w 7780257"/>
              <a:gd name="connsiteY38"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517732 w 7780257"/>
              <a:gd name="connsiteY37"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2935373 w 10715630"/>
              <a:gd name="connsiteY0" fmla="*/ 3757808 h 3799348"/>
              <a:gd name="connsiteX1" fmla="*/ 0 w 10715630"/>
              <a:gd name="connsiteY1" fmla="*/ 3799348 h 3799348"/>
              <a:gd name="connsiteX2" fmla="*/ 3968770 w 10715630"/>
              <a:gd name="connsiteY2" fmla="*/ 3739019 h 3799348"/>
              <a:gd name="connsiteX3" fmla="*/ 4162924 w 10715630"/>
              <a:gd name="connsiteY3" fmla="*/ 3720230 h 3799348"/>
              <a:gd name="connsiteX4" fmla="*/ 4344551 w 10715630"/>
              <a:gd name="connsiteY4" fmla="*/ 3682652 h 3799348"/>
              <a:gd name="connsiteX5" fmla="*/ 4876907 w 10715630"/>
              <a:gd name="connsiteY5" fmla="*/ 3482235 h 3799348"/>
              <a:gd name="connsiteX6" fmla="*/ 5321581 w 10715630"/>
              <a:gd name="connsiteY6" fmla="*/ 3156559 h 3799348"/>
              <a:gd name="connsiteX7" fmla="*/ 5634732 w 10715630"/>
              <a:gd name="connsiteY7" fmla="*/ 2774515 h 3799348"/>
              <a:gd name="connsiteX8" fmla="*/ 5716151 w 10715630"/>
              <a:gd name="connsiteY8" fmla="*/ 2617939 h 3799348"/>
              <a:gd name="connsiteX9" fmla="*/ 5866463 w 10715630"/>
              <a:gd name="connsiteY9" fmla="*/ 2254685 h 3799348"/>
              <a:gd name="connsiteX10" fmla="*/ 5997987 w 10715630"/>
              <a:gd name="connsiteY10" fmla="*/ 1803748 h 3799348"/>
              <a:gd name="connsiteX11" fmla="*/ 6411346 w 10715630"/>
              <a:gd name="connsiteY11" fmla="*/ 1108553 h 3799348"/>
              <a:gd name="connsiteX12" fmla="*/ 6693181 w 10715630"/>
              <a:gd name="connsiteY12" fmla="*/ 770350 h 3799348"/>
              <a:gd name="connsiteX13" fmla="*/ 6843494 w 10715630"/>
              <a:gd name="connsiteY13" fmla="*/ 632564 h 3799348"/>
              <a:gd name="connsiteX14" fmla="*/ 7306957 w 10715630"/>
              <a:gd name="connsiteY14" fmla="*/ 319413 h 3799348"/>
              <a:gd name="connsiteX15" fmla="*/ 7826787 w 10715630"/>
              <a:gd name="connsiteY15" fmla="*/ 112734 h 3799348"/>
              <a:gd name="connsiteX16" fmla="*/ 8071044 w 10715630"/>
              <a:gd name="connsiteY16" fmla="*/ 43841 h 3799348"/>
              <a:gd name="connsiteX17" fmla="*/ 8534507 w 10715630"/>
              <a:gd name="connsiteY17" fmla="*/ 0 h 3799348"/>
              <a:gd name="connsiteX18" fmla="*/ 9142020 w 10715630"/>
              <a:gd name="connsiteY18" fmla="*/ 31315 h 3799348"/>
              <a:gd name="connsiteX19" fmla="*/ 9386277 w 10715630"/>
              <a:gd name="connsiteY19" fmla="*/ 93945 h 3799348"/>
              <a:gd name="connsiteX20" fmla="*/ 9592957 w 10715630"/>
              <a:gd name="connsiteY20" fmla="*/ 169101 h 3799348"/>
              <a:gd name="connsiteX21" fmla="*/ 9981263 w 10715630"/>
              <a:gd name="connsiteY21" fmla="*/ 375781 h 3799348"/>
              <a:gd name="connsiteX22" fmla="*/ 10425937 w 10715630"/>
              <a:gd name="connsiteY22" fmla="*/ 751561 h 3799348"/>
              <a:gd name="connsiteX23" fmla="*/ 10670195 w 10715630"/>
              <a:gd name="connsiteY23" fmla="*/ 1240076 h 3799348"/>
              <a:gd name="connsiteX24" fmla="*/ 10714036 w 10715630"/>
              <a:gd name="connsiteY24" fmla="*/ 1791222 h 3799348"/>
              <a:gd name="connsiteX25" fmla="*/ 10707773 w 10715630"/>
              <a:gd name="connsiteY25" fmla="*/ 2035479 h 3799348"/>
              <a:gd name="connsiteX26" fmla="*/ 10632617 w 10715630"/>
              <a:gd name="connsiteY26" fmla="*/ 2311052 h 3799348"/>
              <a:gd name="connsiteX27" fmla="*/ 10432200 w 10715630"/>
              <a:gd name="connsiteY27" fmla="*/ 2680570 h 3799348"/>
              <a:gd name="connsiteX28" fmla="*/ 10269362 w 10715630"/>
              <a:gd name="connsiteY28" fmla="*/ 2843408 h 3799348"/>
              <a:gd name="connsiteX29" fmla="*/ 10012578 w 10715630"/>
              <a:gd name="connsiteY29" fmla="*/ 2987457 h 3799348"/>
              <a:gd name="connsiteX30" fmla="*/ 9430118 w 10715630"/>
              <a:gd name="connsiteY30" fmla="*/ 3118981 h 3799348"/>
              <a:gd name="connsiteX31" fmla="*/ 8496929 w 10715630"/>
              <a:gd name="connsiteY31" fmla="*/ 3106455 h 3799348"/>
              <a:gd name="connsiteX32" fmla="*/ 7632633 w 10715630"/>
              <a:gd name="connsiteY32" fmla="*/ 3043824 h 3799348"/>
              <a:gd name="connsiteX33" fmla="*/ 7106540 w 10715630"/>
              <a:gd name="connsiteY33" fmla="*/ 2974931 h 3799348"/>
              <a:gd name="connsiteX34" fmla="*/ 5634732 w 10715630"/>
              <a:gd name="connsiteY34" fmla="*/ 2812093 h 3799348"/>
              <a:gd name="connsiteX35" fmla="*/ 5484420 w 10715630"/>
              <a:gd name="connsiteY35" fmla="*/ 2943616 h 3799348"/>
              <a:gd name="connsiteX36" fmla="*/ 5778781 w 10715630"/>
              <a:gd name="connsiteY36" fmla="*/ 2999983 h 3799348"/>
              <a:gd name="connsiteX37" fmla="*/ 5246425 w 10715630"/>
              <a:gd name="connsiteY37"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344551 w 10715630"/>
              <a:gd name="connsiteY3" fmla="*/ 3682652 h 3799348"/>
              <a:gd name="connsiteX4" fmla="*/ 4876907 w 10715630"/>
              <a:gd name="connsiteY4" fmla="*/ 3482235 h 3799348"/>
              <a:gd name="connsiteX5" fmla="*/ 5321581 w 10715630"/>
              <a:gd name="connsiteY5" fmla="*/ 3156559 h 3799348"/>
              <a:gd name="connsiteX6" fmla="*/ 5634732 w 10715630"/>
              <a:gd name="connsiteY6" fmla="*/ 2774515 h 3799348"/>
              <a:gd name="connsiteX7" fmla="*/ 5716151 w 10715630"/>
              <a:gd name="connsiteY7" fmla="*/ 2617939 h 3799348"/>
              <a:gd name="connsiteX8" fmla="*/ 5866463 w 10715630"/>
              <a:gd name="connsiteY8" fmla="*/ 2254685 h 3799348"/>
              <a:gd name="connsiteX9" fmla="*/ 5997987 w 10715630"/>
              <a:gd name="connsiteY9" fmla="*/ 1803748 h 3799348"/>
              <a:gd name="connsiteX10" fmla="*/ 6411346 w 10715630"/>
              <a:gd name="connsiteY10" fmla="*/ 1108553 h 3799348"/>
              <a:gd name="connsiteX11" fmla="*/ 6693181 w 10715630"/>
              <a:gd name="connsiteY11" fmla="*/ 770350 h 3799348"/>
              <a:gd name="connsiteX12" fmla="*/ 6843494 w 10715630"/>
              <a:gd name="connsiteY12" fmla="*/ 632564 h 3799348"/>
              <a:gd name="connsiteX13" fmla="*/ 7306957 w 10715630"/>
              <a:gd name="connsiteY13" fmla="*/ 319413 h 3799348"/>
              <a:gd name="connsiteX14" fmla="*/ 7826787 w 10715630"/>
              <a:gd name="connsiteY14" fmla="*/ 112734 h 3799348"/>
              <a:gd name="connsiteX15" fmla="*/ 8071044 w 10715630"/>
              <a:gd name="connsiteY15" fmla="*/ 43841 h 3799348"/>
              <a:gd name="connsiteX16" fmla="*/ 8534507 w 10715630"/>
              <a:gd name="connsiteY16" fmla="*/ 0 h 3799348"/>
              <a:gd name="connsiteX17" fmla="*/ 9142020 w 10715630"/>
              <a:gd name="connsiteY17" fmla="*/ 31315 h 3799348"/>
              <a:gd name="connsiteX18" fmla="*/ 9386277 w 10715630"/>
              <a:gd name="connsiteY18" fmla="*/ 93945 h 3799348"/>
              <a:gd name="connsiteX19" fmla="*/ 9592957 w 10715630"/>
              <a:gd name="connsiteY19" fmla="*/ 169101 h 3799348"/>
              <a:gd name="connsiteX20" fmla="*/ 9981263 w 10715630"/>
              <a:gd name="connsiteY20" fmla="*/ 375781 h 3799348"/>
              <a:gd name="connsiteX21" fmla="*/ 10425937 w 10715630"/>
              <a:gd name="connsiteY21" fmla="*/ 751561 h 3799348"/>
              <a:gd name="connsiteX22" fmla="*/ 10670195 w 10715630"/>
              <a:gd name="connsiteY22" fmla="*/ 1240076 h 3799348"/>
              <a:gd name="connsiteX23" fmla="*/ 10714036 w 10715630"/>
              <a:gd name="connsiteY23" fmla="*/ 1791222 h 3799348"/>
              <a:gd name="connsiteX24" fmla="*/ 10707773 w 10715630"/>
              <a:gd name="connsiteY24" fmla="*/ 2035479 h 3799348"/>
              <a:gd name="connsiteX25" fmla="*/ 10632617 w 10715630"/>
              <a:gd name="connsiteY25" fmla="*/ 2311052 h 3799348"/>
              <a:gd name="connsiteX26" fmla="*/ 10432200 w 10715630"/>
              <a:gd name="connsiteY26" fmla="*/ 2680570 h 3799348"/>
              <a:gd name="connsiteX27" fmla="*/ 10269362 w 10715630"/>
              <a:gd name="connsiteY27" fmla="*/ 2843408 h 3799348"/>
              <a:gd name="connsiteX28" fmla="*/ 10012578 w 10715630"/>
              <a:gd name="connsiteY28" fmla="*/ 2987457 h 3799348"/>
              <a:gd name="connsiteX29" fmla="*/ 9430118 w 10715630"/>
              <a:gd name="connsiteY29" fmla="*/ 3118981 h 3799348"/>
              <a:gd name="connsiteX30" fmla="*/ 8496929 w 10715630"/>
              <a:gd name="connsiteY30" fmla="*/ 3106455 h 3799348"/>
              <a:gd name="connsiteX31" fmla="*/ 7632633 w 10715630"/>
              <a:gd name="connsiteY31" fmla="*/ 3043824 h 3799348"/>
              <a:gd name="connsiteX32" fmla="*/ 7106540 w 10715630"/>
              <a:gd name="connsiteY32" fmla="*/ 2974931 h 3799348"/>
              <a:gd name="connsiteX33" fmla="*/ 5634732 w 10715630"/>
              <a:gd name="connsiteY33" fmla="*/ 2812093 h 3799348"/>
              <a:gd name="connsiteX34" fmla="*/ 5484420 w 10715630"/>
              <a:gd name="connsiteY34" fmla="*/ 2943616 h 3799348"/>
              <a:gd name="connsiteX35" fmla="*/ 5778781 w 10715630"/>
              <a:gd name="connsiteY35" fmla="*/ 2999983 h 3799348"/>
              <a:gd name="connsiteX36" fmla="*/ 5246425 w 10715630"/>
              <a:gd name="connsiteY36"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876907 w 10715630"/>
              <a:gd name="connsiteY3" fmla="*/ 3482235 h 3799348"/>
              <a:gd name="connsiteX4" fmla="*/ 5321581 w 10715630"/>
              <a:gd name="connsiteY4" fmla="*/ 3156559 h 3799348"/>
              <a:gd name="connsiteX5" fmla="*/ 5634732 w 10715630"/>
              <a:gd name="connsiteY5" fmla="*/ 2774515 h 3799348"/>
              <a:gd name="connsiteX6" fmla="*/ 5716151 w 10715630"/>
              <a:gd name="connsiteY6" fmla="*/ 2617939 h 3799348"/>
              <a:gd name="connsiteX7" fmla="*/ 5866463 w 10715630"/>
              <a:gd name="connsiteY7" fmla="*/ 2254685 h 3799348"/>
              <a:gd name="connsiteX8" fmla="*/ 5997987 w 10715630"/>
              <a:gd name="connsiteY8" fmla="*/ 1803748 h 3799348"/>
              <a:gd name="connsiteX9" fmla="*/ 6411346 w 10715630"/>
              <a:gd name="connsiteY9" fmla="*/ 1108553 h 3799348"/>
              <a:gd name="connsiteX10" fmla="*/ 6693181 w 10715630"/>
              <a:gd name="connsiteY10" fmla="*/ 770350 h 3799348"/>
              <a:gd name="connsiteX11" fmla="*/ 6843494 w 10715630"/>
              <a:gd name="connsiteY11" fmla="*/ 632564 h 3799348"/>
              <a:gd name="connsiteX12" fmla="*/ 7306957 w 10715630"/>
              <a:gd name="connsiteY12" fmla="*/ 319413 h 3799348"/>
              <a:gd name="connsiteX13" fmla="*/ 7826787 w 10715630"/>
              <a:gd name="connsiteY13" fmla="*/ 112734 h 3799348"/>
              <a:gd name="connsiteX14" fmla="*/ 8071044 w 10715630"/>
              <a:gd name="connsiteY14" fmla="*/ 43841 h 3799348"/>
              <a:gd name="connsiteX15" fmla="*/ 8534507 w 10715630"/>
              <a:gd name="connsiteY15" fmla="*/ 0 h 3799348"/>
              <a:gd name="connsiteX16" fmla="*/ 9142020 w 10715630"/>
              <a:gd name="connsiteY16" fmla="*/ 31315 h 3799348"/>
              <a:gd name="connsiteX17" fmla="*/ 9386277 w 10715630"/>
              <a:gd name="connsiteY17" fmla="*/ 93945 h 3799348"/>
              <a:gd name="connsiteX18" fmla="*/ 9592957 w 10715630"/>
              <a:gd name="connsiteY18" fmla="*/ 169101 h 3799348"/>
              <a:gd name="connsiteX19" fmla="*/ 9981263 w 10715630"/>
              <a:gd name="connsiteY19" fmla="*/ 375781 h 3799348"/>
              <a:gd name="connsiteX20" fmla="*/ 10425937 w 10715630"/>
              <a:gd name="connsiteY20" fmla="*/ 751561 h 3799348"/>
              <a:gd name="connsiteX21" fmla="*/ 10670195 w 10715630"/>
              <a:gd name="connsiteY21" fmla="*/ 1240076 h 3799348"/>
              <a:gd name="connsiteX22" fmla="*/ 10714036 w 10715630"/>
              <a:gd name="connsiteY22" fmla="*/ 1791222 h 3799348"/>
              <a:gd name="connsiteX23" fmla="*/ 10707773 w 10715630"/>
              <a:gd name="connsiteY23" fmla="*/ 2035479 h 3799348"/>
              <a:gd name="connsiteX24" fmla="*/ 10632617 w 10715630"/>
              <a:gd name="connsiteY24" fmla="*/ 2311052 h 3799348"/>
              <a:gd name="connsiteX25" fmla="*/ 10432200 w 10715630"/>
              <a:gd name="connsiteY25" fmla="*/ 2680570 h 3799348"/>
              <a:gd name="connsiteX26" fmla="*/ 10269362 w 10715630"/>
              <a:gd name="connsiteY26" fmla="*/ 2843408 h 3799348"/>
              <a:gd name="connsiteX27" fmla="*/ 10012578 w 10715630"/>
              <a:gd name="connsiteY27" fmla="*/ 2987457 h 3799348"/>
              <a:gd name="connsiteX28" fmla="*/ 9430118 w 10715630"/>
              <a:gd name="connsiteY28" fmla="*/ 3118981 h 3799348"/>
              <a:gd name="connsiteX29" fmla="*/ 8496929 w 10715630"/>
              <a:gd name="connsiteY29" fmla="*/ 3106455 h 3799348"/>
              <a:gd name="connsiteX30" fmla="*/ 7632633 w 10715630"/>
              <a:gd name="connsiteY30" fmla="*/ 3043824 h 3799348"/>
              <a:gd name="connsiteX31" fmla="*/ 7106540 w 10715630"/>
              <a:gd name="connsiteY31" fmla="*/ 2974931 h 3799348"/>
              <a:gd name="connsiteX32" fmla="*/ 5634732 w 10715630"/>
              <a:gd name="connsiteY32" fmla="*/ 2812093 h 3799348"/>
              <a:gd name="connsiteX33" fmla="*/ 5484420 w 10715630"/>
              <a:gd name="connsiteY33" fmla="*/ 2943616 h 3799348"/>
              <a:gd name="connsiteX34" fmla="*/ 5778781 w 10715630"/>
              <a:gd name="connsiteY34" fmla="*/ 2999983 h 3799348"/>
              <a:gd name="connsiteX35" fmla="*/ 5246425 w 10715630"/>
              <a:gd name="connsiteY35"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5321581 w 10715630"/>
              <a:gd name="connsiteY3" fmla="*/ 3156559 h 3799348"/>
              <a:gd name="connsiteX4" fmla="*/ 5634732 w 10715630"/>
              <a:gd name="connsiteY4" fmla="*/ 2774515 h 3799348"/>
              <a:gd name="connsiteX5" fmla="*/ 5716151 w 10715630"/>
              <a:gd name="connsiteY5" fmla="*/ 2617939 h 3799348"/>
              <a:gd name="connsiteX6" fmla="*/ 5866463 w 10715630"/>
              <a:gd name="connsiteY6" fmla="*/ 2254685 h 3799348"/>
              <a:gd name="connsiteX7" fmla="*/ 5997987 w 10715630"/>
              <a:gd name="connsiteY7" fmla="*/ 1803748 h 3799348"/>
              <a:gd name="connsiteX8" fmla="*/ 6411346 w 10715630"/>
              <a:gd name="connsiteY8" fmla="*/ 1108553 h 3799348"/>
              <a:gd name="connsiteX9" fmla="*/ 6693181 w 10715630"/>
              <a:gd name="connsiteY9" fmla="*/ 770350 h 3799348"/>
              <a:gd name="connsiteX10" fmla="*/ 6843494 w 10715630"/>
              <a:gd name="connsiteY10" fmla="*/ 632564 h 3799348"/>
              <a:gd name="connsiteX11" fmla="*/ 7306957 w 10715630"/>
              <a:gd name="connsiteY11" fmla="*/ 319413 h 3799348"/>
              <a:gd name="connsiteX12" fmla="*/ 7826787 w 10715630"/>
              <a:gd name="connsiteY12" fmla="*/ 112734 h 3799348"/>
              <a:gd name="connsiteX13" fmla="*/ 8071044 w 10715630"/>
              <a:gd name="connsiteY13" fmla="*/ 43841 h 3799348"/>
              <a:gd name="connsiteX14" fmla="*/ 8534507 w 10715630"/>
              <a:gd name="connsiteY14" fmla="*/ 0 h 3799348"/>
              <a:gd name="connsiteX15" fmla="*/ 9142020 w 10715630"/>
              <a:gd name="connsiteY15" fmla="*/ 31315 h 3799348"/>
              <a:gd name="connsiteX16" fmla="*/ 9386277 w 10715630"/>
              <a:gd name="connsiteY16" fmla="*/ 93945 h 3799348"/>
              <a:gd name="connsiteX17" fmla="*/ 9592957 w 10715630"/>
              <a:gd name="connsiteY17" fmla="*/ 169101 h 3799348"/>
              <a:gd name="connsiteX18" fmla="*/ 9981263 w 10715630"/>
              <a:gd name="connsiteY18" fmla="*/ 375781 h 3799348"/>
              <a:gd name="connsiteX19" fmla="*/ 10425937 w 10715630"/>
              <a:gd name="connsiteY19" fmla="*/ 751561 h 3799348"/>
              <a:gd name="connsiteX20" fmla="*/ 10670195 w 10715630"/>
              <a:gd name="connsiteY20" fmla="*/ 1240076 h 3799348"/>
              <a:gd name="connsiteX21" fmla="*/ 10714036 w 10715630"/>
              <a:gd name="connsiteY21" fmla="*/ 1791222 h 3799348"/>
              <a:gd name="connsiteX22" fmla="*/ 10707773 w 10715630"/>
              <a:gd name="connsiteY22" fmla="*/ 2035479 h 3799348"/>
              <a:gd name="connsiteX23" fmla="*/ 10632617 w 10715630"/>
              <a:gd name="connsiteY23" fmla="*/ 2311052 h 3799348"/>
              <a:gd name="connsiteX24" fmla="*/ 10432200 w 10715630"/>
              <a:gd name="connsiteY24" fmla="*/ 2680570 h 3799348"/>
              <a:gd name="connsiteX25" fmla="*/ 10269362 w 10715630"/>
              <a:gd name="connsiteY25" fmla="*/ 2843408 h 3799348"/>
              <a:gd name="connsiteX26" fmla="*/ 10012578 w 10715630"/>
              <a:gd name="connsiteY26" fmla="*/ 2987457 h 3799348"/>
              <a:gd name="connsiteX27" fmla="*/ 9430118 w 10715630"/>
              <a:gd name="connsiteY27" fmla="*/ 3118981 h 3799348"/>
              <a:gd name="connsiteX28" fmla="*/ 8496929 w 10715630"/>
              <a:gd name="connsiteY28" fmla="*/ 3106455 h 3799348"/>
              <a:gd name="connsiteX29" fmla="*/ 7632633 w 10715630"/>
              <a:gd name="connsiteY29" fmla="*/ 3043824 h 3799348"/>
              <a:gd name="connsiteX30" fmla="*/ 7106540 w 10715630"/>
              <a:gd name="connsiteY30" fmla="*/ 2974931 h 3799348"/>
              <a:gd name="connsiteX31" fmla="*/ 5634732 w 10715630"/>
              <a:gd name="connsiteY31" fmla="*/ 2812093 h 3799348"/>
              <a:gd name="connsiteX32" fmla="*/ 5484420 w 10715630"/>
              <a:gd name="connsiteY32" fmla="*/ 2943616 h 3799348"/>
              <a:gd name="connsiteX33" fmla="*/ 5778781 w 10715630"/>
              <a:gd name="connsiteY33" fmla="*/ 2999983 h 3799348"/>
              <a:gd name="connsiteX34" fmla="*/ 5246425 w 10715630"/>
              <a:gd name="connsiteY34" fmla="*/ 2711885 h 3799348"/>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716151 w 10715630"/>
              <a:gd name="connsiteY4" fmla="*/ 2617939 h 3828276"/>
              <a:gd name="connsiteX5" fmla="*/ 5866463 w 10715630"/>
              <a:gd name="connsiteY5" fmla="*/ 2254685 h 3828276"/>
              <a:gd name="connsiteX6" fmla="*/ 5997987 w 10715630"/>
              <a:gd name="connsiteY6" fmla="*/ 1803748 h 3828276"/>
              <a:gd name="connsiteX7" fmla="*/ 6411346 w 10715630"/>
              <a:gd name="connsiteY7" fmla="*/ 1108553 h 3828276"/>
              <a:gd name="connsiteX8" fmla="*/ 6693181 w 10715630"/>
              <a:gd name="connsiteY8" fmla="*/ 770350 h 3828276"/>
              <a:gd name="connsiteX9" fmla="*/ 6843494 w 10715630"/>
              <a:gd name="connsiteY9" fmla="*/ 632564 h 3828276"/>
              <a:gd name="connsiteX10" fmla="*/ 7306957 w 10715630"/>
              <a:gd name="connsiteY10" fmla="*/ 319413 h 3828276"/>
              <a:gd name="connsiteX11" fmla="*/ 7826787 w 10715630"/>
              <a:gd name="connsiteY11" fmla="*/ 112734 h 3828276"/>
              <a:gd name="connsiteX12" fmla="*/ 8071044 w 10715630"/>
              <a:gd name="connsiteY12" fmla="*/ 43841 h 3828276"/>
              <a:gd name="connsiteX13" fmla="*/ 8534507 w 10715630"/>
              <a:gd name="connsiteY13" fmla="*/ 0 h 3828276"/>
              <a:gd name="connsiteX14" fmla="*/ 9142020 w 10715630"/>
              <a:gd name="connsiteY14" fmla="*/ 31315 h 3828276"/>
              <a:gd name="connsiteX15" fmla="*/ 9386277 w 10715630"/>
              <a:gd name="connsiteY15" fmla="*/ 93945 h 3828276"/>
              <a:gd name="connsiteX16" fmla="*/ 9592957 w 10715630"/>
              <a:gd name="connsiteY16" fmla="*/ 169101 h 3828276"/>
              <a:gd name="connsiteX17" fmla="*/ 9981263 w 10715630"/>
              <a:gd name="connsiteY17" fmla="*/ 375781 h 3828276"/>
              <a:gd name="connsiteX18" fmla="*/ 10425937 w 10715630"/>
              <a:gd name="connsiteY18" fmla="*/ 751561 h 3828276"/>
              <a:gd name="connsiteX19" fmla="*/ 10670195 w 10715630"/>
              <a:gd name="connsiteY19" fmla="*/ 1240076 h 3828276"/>
              <a:gd name="connsiteX20" fmla="*/ 10714036 w 10715630"/>
              <a:gd name="connsiteY20" fmla="*/ 1791222 h 3828276"/>
              <a:gd name="connsiteX21" fmla="*/ 10707773 w 10715630"/>
              <a:gd name="connsiteY21" fmla="*/ 2035479 h 3828276"/>
              <a:gd name="connsiteX22" fmla="*/ 10632617 w 10715630"/>
              <a:gd name="connsiteY22" fmla="*/ 2311052 h 3828276"/>
              <a:gd name="connsiteX23" fmla="*/ 10432200 w 10715630"/>
              <a:gd name="connsiteY23" fmla="*/ 2680570 h 3828276"/>
              <a:gd name="connsiteX24" fmla="*/ 10269362 w 10715630"/>
              <a:gd name="connsiteY24" fmla="*/ 2843408 h 3828276"/>
              <a:gd name="connsiteX25" fmla="*/ 10012578 w 10715630"/>
              <a:gd name="connsiteY25" fmla="*/ 2987457 h 3828276"/>
              <a:gd name="connsiteX26" fmla="*/ 9430118 w 10715630"/>
              <a:gd name="connsiteY26" fmla="*/ 3118981 h 3828276"/>
              <a:gd name="connsiteX27" fmla="*/ 8496929 w 10715630"/>
              <a:gd name="connsiteY27" fmla="*/ 3106455 h 3828276"/>
              <a:gd name="connsiteX28" fmla="*/ 7632633 w 10715630"/>
              <a:gd name="connsiteY28" fmla="*/ 3043824 h 3828276"/>
              <a:gd name="connsiteX29" fmla="*/ 7106540 w 10715630"/>
              <a:gd name="connsiteY29" fmla="*/ 2974931 h 3828276"/>
              <a:gd name="connsiteX30" fmla="*/ 5634732 w 10715630"/>
              <a:gd name="connsiteY30" fmla="*/ 2812093 h 3828276"/>
              <a:gd name="connsiteX31" fmla="*/ 5484420 w 10715630"/>
              <a:gd name="connsiteY31" fmla="*/ 2943616 h 3828276"/>
              <a:gd name="connsiteX32" fmla="*/ 5778781 w 10715630"/>
              <a:gd name="connsiteY32" fmla="*/ 2999983 h 3828276"/>
              <a:gd name="connsiteX33" fmla="*/ 5246425 w 10715630"/>
              <a:gd name="connsiteY33" fmla="*/ 2711885 h 3828276"/>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866463 w 10715630"/>
              <a:gd name="connsiteY4" fmla="*/ 2254685 h 3828276"/>
              <a:gd name="connsiteX5" fmla="*/ 5997987 w 10715630"/>
              <a:gd name="connsiteY5" fmla="*/ 1803748 h 3828276"/>
              <a:gd name="connsiteX6" fmla="*/ 6411346 w 10715630"/>
              <a:gd name="connsiteY6" fmla="*/ 1108553 h 3828276"/>
              <a:gd name="connsiteX7" fmla="*/ 6693181 w 10715630"/>
              <a:gd name="connsiteY7" fmla="*/ 770350 h 3828276"/>
              <a:gd name="connsiteX8" fmla="*/ 6843494 w 10715630"/>
              <a:gd name="connsiteY8" fmla="*/ 632564 h 3828276"/>
              <a:gd name="connsiteX9" fmla="*/ 7306957 w 10715630"/>
              <a:gd name="connsiteY9" fmla="*/ 319413 h 3828276"/>
              <a:gd name="connsiteX10" fmla="*/ 7826787 w 10715630"/>
              <a:gd name="connsiteY10" fmla="*/ 112734 h 3828276"/>
              <a:gd name="connsiteX11" fmla="*/ 8071044 w 10715630"/>
              <a:gd name="connsiteY11" fmla="*/ 43841 h 3828276"/>
              <a:gd name="connsiteX12" fmla="*/ 8534507 w 10715630"/>
              <a:gd name="connsiteY12" fmla="*/ 0 h 3828276"/>
              <a:gd name="connsiteX13" fmla="*/ 9142020 w 10715630"/>
              <a:gd name="connsiteY13" fmla="*/ 31315 h 3828276"/>
              <a:gd name="connsiteX14" fmla="*/ 9386277 w 10715630"/>
              <a:gd name="connsiteY14" fmla="*/ 93945 h 3828276"/>
              <a:gd name="connsiteX15" fmla="*/ 9592957 w 10715630"/>
              <a:gd name="connsiteY15" fmla="*/ 169101 h 3828276"/>
              <a:gd name="connsiteX16" fmla="*/ 9981263 w 10715630"/>
              <a:gd name="connsiteY16" fmla="*/ 375781 h 3828276"/>
              <a:gd name="connsiteX17" fmla="*/ 10425937 w 10715630"/>
              <a:gd name="connsiteY17" fmla="*/ 751561 h 3828276"/>
              <a:gd name="connsiteX18" fmla="*/ 10670195 w 10715630"/>
              <a:gd name="connsiteY18" fmla="*/ 1240076 h 3828276"/>
              <a:gd name="connsiteX19" fmla="*/ 10714036 w 10715630"/>
              <a:gd name="connsiteY19" fmla="*/ 1791222 h 3828276"/>
              <a:gd name="connsiteX20" fmla="*/ 10707773 w 10715630"/>
              <a:gd name="connsiteY20" fmla="*/ 2035479 h 3828276"/>
              <a:gd name="connsiteX21" fmla="*/ 10632617 w 10715630"/>
              <a:gd name="connsiteY21" fmla="*/ 2311052 h 3828276"/>
              <a:gd name="connsiteX22" fmla="*/ 10432200 w 10715630"/>
              <a:gd name="connsiteY22" fmla="*/ 2680570 h 3828276"/>
              <a:gd name="connsiteX23" fmla="*/ 10269362 w 10715630"/>
              <a:gd name="connsiteY23" fmla="*/ 2843408 h 3828276"/>
              <a:gd name="connsiteX24" fmla="*/ 10012578 w 10715630"/>
              <a:gd name="connsiteY24" fmla="*/ 2987457 h 3828276"/>
              <a:gd name="connsiteX25" fmla="*/ 9430118 w 10715630"/>
              <a:gd name="connsiteY25" fmla="*/ 3118981 h 3828276"/>
              <a:gd name="connsiteX26" fmla="*/ 8496929 w 10715630"/>
              <a:gd name="connsiteY26" fmla="*/ 3106455 h 3828276"/>
              <a:gd name="connsiteX27" fmla="*/ 7632633 w 10715630"/>
              <a:gd name="connsiteY27" fmla="*/ 3043824 h 3828276"/>
              <a:gd name="connsiteX28" fmla="*/ 7106540 w 10715630"/>
              <a:gd name="connsiteY28" fmla="*/ 2974931 h 3828276"/>
              <a:gd name="connsiteX29" fmla="*/ 5634732 w 10715630"/>
              <a:gd name="connsiteY29" fmla="*/ 2812093 h 3828276"/>
              <a:gd name="connsiteX30" fmla="*/ 5484420 w 10715630"/>
              <a:gd name="connsiteY30" fmla="*/ 2943616 h 3828276"/>
              <a:gd name="connsiteX31" fmla="*/ 5778781 w 10715630"/>
              <a:gd name="connsiteY31" fmla="*/ 2999983 h 3828276"/>
              <a:gd name="connsiteX32" fmla="*/ 5246425 w 10715630"/>
              <a:gd name="connsiteY32" fmla="*/ 2711885 h 3828276"/>
              <a:gd name="connsiteX0" fmla="*/ 0 w 10715630"/>
              <a:gd name="connsiteY0" fmla="*/ 3799348 h 3828276"/>
              <a:gd name="connsiteX1" fmla="*/ 3968770 w 10715630"/>
              <a:gd name="connsiteY1" fmla="*/ 3739019 h 3828276"/>
              <a:gd name="connsiteX2" fmla="*/ 5634732 w 10715630"/>
              <a:gd name="connsiteY2" fmla="*/ 2774515 h 3828276"/>
              <a:gd name="connsiteX3" fmla="*/ 5866463 w 10715630"/>
              <a:gd name="connsiteY3" fmla="*/ 2254685 h 3828276"/>
              <a:gd name="connsiteX4" fmla="*/ 5997987 w 10715630"/>
              <a:gd name="connsiteY4" fmla="*/ 1803748 h 3828276"/>
              <a:gd name="connsiteX5" fmla="*/ 6411346 w 10715630"/>
              <a:gd name="connsiteY5" fmla="*/ 1108553 h 3828276"/>
              <a:gd name="connsiteX6" fmla="*/ 6693181 w 10715630"/>
              <a:gd name="connsiteY6" fmla="*/ 770350 h 3828276"/>
              <a:gd name="connsiteX7" fmla="*/ 6843494 w 10715630"/>
              <a:gd name="connsiteY7" fmla="*/ 632564 h 3828276"/>
              <a:gd name="connsiteX8" fmla="*/ 7306957 w 10715630"/>
              <a:gd name="connsiteY8" fmla="*/ 319413 h 3828276"/>
              <a:gd name="connsiteX9" fmla="*/ 7826787 w 10715630"/>
              <a:gd name="connsiteY9" fmla="*/ 112734 h 3828276"/>
              <a:gd name="connsiteX10" fmla="*/ 8071044 w 10715630"/>
              <a:gd name="connsiteY10" fmla="*/ 43841 h 3828276"/>
              <a:gd name="connsiteX11" fmla="*/ 8534507 w 10715630"/>
              <a:gd name="connsiteY11" fmla="*/ 0 h 3828276"/>
              <a:gd name="connsiteX12" fmla="*/ 9142020 w 10715630"/>
              <a:gd name="connsiteY12" fmla="*/ 31315 h 3828276"/>
              <a:gd name="connsiteX13" fmla="*/ 9386277 w 10715630"/>
              <a:gd name="connsiteY13" fmla="*/ 93945 h 3828276"/>
              <a:gd name="connsiteX14" fmla="*/ 9592957 w 10715630"/>
              <a:gd name="connsiteY14" fmla="*/ 169101 h 3828276"/>
              <a:gd name="connsiteX15" fmla="*/ 9981263 w 10715630"/>
              <a:gd name="connsiteY15" fmla="*/ 375781 h 3828276"/>
              <a:gd name="connsiteX16" fmla="*/ 10425937 w 10715630"/>
              <a:gd name="connsiteY16" fmla="*/ 751561 h 3828276"/>
              <a:gd name="connsiteX17" fmla="*/ 10670195 w 10715630"/>
              <a:gd name="connsiteY17" fmla="*/ 1240076 h 3828276"/>
              <a:gd name="connsiteX18" fmla="*/ 10714036 w 10715630"/>
              <a:gd name="connsiteY18" fmla="*/ 1791222 h 3828276"/>
              <a:gd name="connsiteX19" fmla="*/ 10707773 w 10715630"/>
              <a:gd name="connsiteY19" fmla="*/ 2035479 h 3828276"/>
              <a:gd name="connsiteX20" fmla="*/ 10632617 w 10715630"/>
              <a:gd name="connsiteY20" fmla="*/ 2311052 h 3828276"/>
              <a:gd name="connsiteX21" fmla="*/ 10432200 w 10715630"/>
              <a:gd name="connsiteY21" fmla="*/ 2680570 h 3828276"/>
              <a:gd name="connsiteX22" fmla="*/ 10269362 w 10715630"/>
              <a:gd name="connsiteY22" fmla="*/ 2843408 h 3828276"/>
              <a:gd name="connsiteX23" fmla="*/ 10012578 w 10715630"/>
              <a:gd name="connsiteY23" fmla="*/ 2987457 h 3828276"/>
              <a:gd name="connsiteX24" fmla="*/ 9430118 w 10715630"/>
              <a:gd name="connsiteY24" fmla="*/ 3118981 h 3828276"/>
              <a:gd name="connsiteX25" fmla="*/ 8496929 w 10715630"/>
              <a:gd name="connsiteY25" fmla="*/ 3106455 h 3828276"/>
              <a:gd name="connsiteX26" fmla="*/ 7632633 w 10715630"/>
              <a:gd name="connsiteY26" fmla="*/ 3043824 h 3828276"/>
              <a:gd name="connsiteX27" fmla="*/ 7106540 w 10715630"/>
              <a:gd name="connsiteY27" fmla="*/ 2974931 h 3828276"/>
              <a:gd name="connsiteX28" fmla="*/ 5634732 w 10715630"/>
              <a:gd name="connsiteY28" fmla="*/ 2812093 h 3828276"/>
              <a:gd name="connsiteX29" fmla="*/ 5484420 w 10715630"/>
              <a:gd name="connsiteY29" fmla="*/ 2943616 h 3828276"/>
              <a:gd name="connsiteX30" fmla="*/ 5778781 w 10715630"/>
              <a:gd name="connsiteY30" fmla="*/ 2999983 h 3828276"/>
              <a:gd name="connsiteX31" fmla="*/ 5246425 w 10715630"/>
              <a:gd name="connsiteY31" fmla="*/ 2711885 h 3828276"/>
              <a:gd name="connsiteX0" fmla="*/ 0 w 10302990"/>
              <a:gd name="connsiteY0" fmla="*/ 3799348 h 3828276"/>
              <a:gd name="connsiteX1" fmla="*/ 3556130 w 10302990"/>
              <a:gd name="connsiteY1" fmla="*/ 3739019 h 3828276"/>
              <a:gd name="connsiteX2" fmla="*/ 5222092 w 10302990"/>
              <a:gd name="connsiteY2" fmla="*/ 2774515 h 3828276"/>
              <a:gd name="connsiteX3" fmla="*/ 5453823 w 10302990"/>
              <a:gd name="connsiteY3" fmla="*/ 2254685 h 3828276"/>
              <a:gd name="connsiteX4" fmla="*/ 5585347 w 10302990"/>
              <a:gd name="connsiteY4" fmla="*/ 1803748 h 3828276"/>
              <a:gd name="connsiteX5" fmla="*/ 5998706 w 10302990"/>
              <a:gd name="connsiteY5" fmla="*/ 1108553 h 3828276"/>
              <a:gd name="connsiteX6" fmla="*/ 6280541 w 10302990"/>
              <a:gd name="connsiteY6" fmla="*/ 770350 h 3828276"/>
              <a:gd name="connsiteX7" fmla="*/ 6430854 w 10302990"/>
              <a:gd name="connsiteY7" fmla="*/ 632564 h 3828276"/>
              <a:gd name="connsiteX8" fmla="*/ 6894317 w 10302990"/>
              <a:gd name="connsiteY8" fmla="*/ 319413 h 3828276"/>
              <a:gd name="connsiteX9" fmla="*/ 7414147 w 10302990"/>
              <a:gd name="connsiteY9" fmla="*/ 112734 h 3828276"/>
              <a:gd name="connsiteX10" fmla="*/ 7658404 w 10302990"/>
              <a:gd name="connsiteY10" fmla="*/ 43841 h 3828276"/>
              <a:gd name="connsiteX11" fmla="*/ 8121867 w 10302990"/>
              <a:gd name="connsiteY11" fmla="*/ 0 h 3828276"/>
              <a:gd name="connsiteX12" fmla="*/ 8729380 w 10302990"/>
              <a:gd name="connsiteY12" fmla="*/ 31315 h 3828276"/>
              <a:gd name="connsiteX13" fmla="*/ 8973637 w 10302990"/>
              <a:gd name="connsiteY13" fmla="*/ 93945 h 3828276"/>
              <a:gd name="connsiteX14" fmla="*/ 9180317 w 10302990"/>
              <a:gd name="connsiteY14" fmla="*/ 169101 h 3828276"/>
              <a:gd name="connsiteX15" fmla="*/ 9568623 w 10302990"/>
              <a:gd name="connsiteY15" fmla="*/ 375781 h 3828276"/>
              <a:gd name="connsiteX16" fmla="*/ 10013297 w 10302990"/>
              <a:gd name="connsiteY16" fmla="*/ 751561 h 3828276"/>
              <a:gd name="connsiteX17" fmla="*/ 10257555 w 10302990"/>
              <a:gd name="connsiteY17" fmla="*/ 1240076 h 3828276"/>
              <a:gd name="connsiteX18" fmla="*/ 10301396 w 10302990"/>
              <a:gd name="connsiteY18" fmla="*/ 1791222 h 3828276"/>
              <a:gd name="connsiteX19" fmla="*/ 10295133 w 10302990"/>
              <a:gd name="connsiteY19" fmla="*/ 2035479 h 3828276"/>
              <a:gd name="connsiteX20" fmla="*/ 10219977 w 10302990"/>
              <a:gd name="connsiteY20" fmla="*/ 2311052 h 3828276"/>
              <a:gd name="connsiteX21" fmla="*/ 10019560 w 10302990"/>
              <a:gd name="connsiteY21" fmla="*/ 2680570 h 3828276"/>
              <a:gd name="connsiteX22" fmla="*/ 9856722 w 10302990"/>
              <a:gd name="connsiteY22" fmla="*/ 2843408 h 3828276"/>
              <a:gd name="connsiteX23" fmla="*/ 9599938 w 10302990"/>
              <a:gd name="connsiteY23" fmla="*/ 2987457 h 3828276"/>
              <a:gd name="connsiteX24" fmla="*/ 9017478 w 10302990"/>
              <a:gd name="connsiteY24" fmla="*/ 3118981 h 3828276"/>
              <a:gd name="connsiteX25" fmla="*/ 8084289 w 10302990"/>
              <a:gd name="connsiteY25" fmla="*/ 3106455 h 3828276"/>
              <a:gd name="connsiteX26" fmla="*/ 7219993 w 10302990"/>
              <a:gd name="connsiteY26" fmla="*/ 3043824 h 3828276"/>
              <a:gd name="connsiteX27" fmla="*/ 6693900 w 10302990"/>
              <a:gd name="connsiteY27" fmla="*/ 2974931 h 3828276"/>
              <a:gd name="connsiteX28" fmla="*/ 5222092 w 10302990"/>
              <a:gd name="connsiteY28" fmla="*/ 2812093 h 3828276"/>
              <a:gd name="connsiteX29" fmla="*/ 5071780 w 10302990"/>
              <a:gd name="connsiteY29" fmla="*/ 2943616 h 3828276"/>
              <a:gd name="connsiteX30" fmla="*/ 5366141 w 10302990"/>
              <a:gd name="connsiteY30" fmla="*/ 2999983 h 3828276"/>
              <a:gd name="connsiteX31" fmla="*/ 4833785 w 10302990"/>
              <a:gd name="connsiteY31" fmla="*/ 2711885 h 3828276"/>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731095 w 9402684"/>
              <a:gd name="connsiteY23" fmla="*/ 2974295 h 4164902"/>
              <a:gd name="connsiteX24" fmla="*/ 8699632 w 9402684"/>
              <a:gd name="connsiteY24" fmla="*/ 2987457 h 4164902"/>
              <a:gd name="connsiteX25" fmla="*/ 8117172 w 9402684"/>
              <a:gd name="connsiteY25" fmla="*/ 3118981 h 4164902"/>
              <a:gd name="connsiteX26" fmla="*/ 7183983 w 9402684"/>
              <a:gd name="connsiteY26" fmla="*/ 3106455 h 4164902"/>
              <a:gd name="connsiteX27" fmla="*/ 6319687 w 9402684"/>
              <a:gd name="connsiteY27" fmla="*/ 3043824 h 4164902"/>
              <a:gd name="connsiteX28" fmla="*/ 5793594 w 9402684"/>
              <a:gd name="connsiteY28" fmla="*/ 2974931 h 4164902"/>
              <a:gd name="connsiteX29" fmla="*/ 4321786 w 9402684"/>
              <a:gd name="connsiteY29" fmla="*/ 2812093 h 4164902"/>
              <a:gd name="connsiteX30" fmla="*/ 4171474 w 9402684"/>
              <a:gd name="connsiteY30" fmla="*/ 2943616 h 4164902"/>
              <a:gd name="connsiteX31" fmla="*/ 4465835 w 9402684"/>
              <a:gd name="connsiteY31" fmla="*/ 2999983 h 4164902"/>
              <a:gd name="connsiteX32" fmla="*/ 3933479 w 9402684"/>
              <a:gd name="connsiteY32"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117172 w 9402684"/>
              <a:gd name="connsiteY23" fmla="*/ 3118981 h 4164902"/>
              <a:gd name="connsiteX24" fmla="*/ 7183983 w 9402684"/>
              <a:gd name="connsiteY24" fmla="*/ 3106455 h 4164902"/>
              <a:gd name="connsiteX25" fmla="*/ 6319687 w 9402684"/>
              <a:gd name="connsiteY25" fmla="*/ 3043824 h 4164902"/>
              <a:gd name="connsiteX26" fmla="*/ 5793594 w 9402684"/>
              <a:gd name="connsiteY26" fmla="*/ 2974931 h 4164902"/>
              <a:gd name="connsiteX27" fmla="*/ 4321786 w 9402684"/>
              <a:gd name="connsiteY27" fmla="*/ 2812093 h 4164902"/>
              <a:gd name="connsiteX28" fmla="*/ 4171474 w 9402684"/>
              <a:gd name="connsiteY28" fmla="*/ 2943616 h 4164902"/>
              <a:gd name="connsiteX29" fmla="*/ 4465835 w 9402684"/>
              <a:gd name="connsiteY29" fmla="*/ 2999983 h 4164902"/>
              <a:gd name="connsiteX30" fmla="*/ 3933479 w 9402684"/>
              <a:gd name="connsiteY30"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117172 w 9402684"/>
              <a:gd name="connsiteY22" fmla="*/ 3118981 h 4164902"/>
              <a:gd name="connsiteX23" fmla="*/ 7183983 w 9402684"/>
              <a:gd name="connsiteY23" fmla="*/ 3106455 h 4164902"/>
              <a:gd name="connsiteX24" fmla="*/ 6319687 w 9402684"/>
              <a:gd name="connsiteY24" fmla="*/ 3043824 h 4164902"/>
              <a:gd name="connsiteX25" fmla="*/ 5793594 w 9402684"/>
              <a:gd name="connsiteY25" fmla="*/ 2974931 h 4164902"/>
              <a:gd name="connsiteX26" fmla="*/ 4321786 w 9402684"/>
              <a:gd name="connsiteY26" fmla="*/ 2812093 h 4164902"/>
              <a:gd name="connsiteX27" fmla="*/ 4171474 w 9402684"/>
              <a:gd name="connsiteY27" fmla="*/ 2943616 h 4164902"/>
              <a:gd name="connsiteX28" fmla="*/ 4465835 w 9402684"/>
              <a:gd name="connsiteY28" fmla="*/ 2999983 h 4164902"/>
              <a:gd name="connsiteX29" fmla="*/ 3933479 w 9402684"/>
              <a:gd name="connsiteY29"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7183983 w 9402684"/>
              <a:gd name="connsiteY22" fmla="*/ 3106455 h 4164902"/>
              <a:gd name="connsiteX23" fmla="*/ 6319687 w 9402684"/>
              <a:gd name="connsiteY23" fmla="*/ 3043824 h 4164902"/>
              <a:gd name="connsiteX24" fmla="*/ 5793594 w 9402684"/>
              <a:gd name="connsiteY24" fmla="*/ 2974931 h 4164902"/>
              <a:gd name="connsiteX25" fmla="*/ 4321786 w 9402684"/>
              <a:gd name="connsiteY25" fmla="*/ 2812093 h 4164902"/>
              <a:gd name="connsiteX26" fmla="*/ 4171474 w 9402684"/>
              <a:gd name="connsiteY26" fmla="*/ 2943616 h 4164902"/>
              <a:gd name="connsiteX27" fmla="*/ 4465835 w 9402684"/>
              <a:gd name="connsiteY27" fmla="*/ 2999983 h 4164902"/>
              <a:gd name="connsiteX28" fmla="*/ 3933479 w 9402684"/>
              <a:gd name="connsiteY28" fmla="*/ 2711885 h 4164902"/>
              <a:gd name="connsiteX0" fmla="*/ 0 w 9501499"/>
              <a:gd name="connsiteY0" fmla="*/ 4164902 h 4164902"/>
              <a:gd name="connsiteX1" fmla="*/ 2655824 w 9501499"/>
              <a:gd name="connsiteY1" fmla="*/ 3739019 h 4164902"/>
              <a:gd name="connsiteX2" fmla="*/ 4321786 w 9501499"/>
              <a:gd name="connsiteY2" fmla="*/ 2774515 h 4164902"/>
              <a:gd name="connsiteX3" fmla="*/ 4553517 w 9501499"/>
              <a:gd name="connsiteY3" fmla="*/ 2254685 h 4164902"/>
              <a:gd name="connsiteX4" fmla="*/ 4685041 w 9501499"/>
              <a:gd name="connsiteY4" fmla="*/ 1803748 h 4164902"/>
              <a:gd name="connsiteX5" fmla="*/ 5098400 w 9501499"/>
              <a:gd name="connsiteY5" fmla="*/ 1108553 h 4164902"/>
              <a:gd name="connsiteX6" fmla="*/ 5380235 w 9501499"/>
              <a:gd name="connsiteY6" fmla="*/ 770350 h 4164902"/>
              <a:gd name="connsiteX7" fmla="*/ 5530548 w 9501499"/>
              <a:gd name="connsiteY7" fmla="*/ 632564 h 4164902"/>
              <a:gd name="connsiteX8" fmla="*/ 5994011 w 9501499"/>
              <a:gd name="connsiteY8" fmla="*/ 319413 h 4164902"/>
              <a:gd name="connsiteX9" fmla="*/ 6513841 w 9501499"/>
              <a:gd name="connsiteY9" fmla="*/ 112734 h 4164902"/>
              <a:gd name="connsiteX10" fmla="*/ 6758098 w 9501499"/>
              <a:gd name="connsiteY10" fmla="*/ 43841 h 4164902"/>
              <a:gd name="connsiteX11" fmla="*/ 7221561 w 9501499"/>
              <a:gd name="connsiteY11" fmla="*/ 0 h 4164902"/>
              <a:gd name="connsiteX12" fmla="*/ 7829074 w 9501499"/>
              <a:gd name="connsiteY12" fmla="*/ 31315 h 4164902"/>
              <a:gd name="connsiteX13" fmla="*/ 8073331 w 9501499"/>
              <a:gd name="connsiteY13" fmla="*/ 93945 h 4164902"/>
              <a:gd name="connsiteX14" fmla="*/ 8280011 w 9501499"/>
              <a:gd name="connsiteY14" fmla="*/ 169101 h 4164902"/>
              <a:gd name="connsiteX15" fmla="*/ 8668317 w 9501499"/>
              <a:gd name="connsiteY15" fmla="*/ 375781 h 4164902"/>
              <a:gd name="connsiteX16" fmla="*/ 9112991 w 9501499"/>
              <a:gd name="connsiteY16" fmla="*/ 751561 h 4164902"/>
              <a:gd name="connsiteX17" fmla="*/ 9357249 w 9501499"/>
              <a:gd name="connsiteY17" fmla="*/ 1240076 h 4164902"/>
              <a:gd name="connsiteX18" fmla="*/ 9401090 w 9501499"/>
              <a:gd name="connsiteY18" fmla="*/ 1791222 h 4164902"/>
              <a:gd name="connsiteX19" fmla="*/ 9394827 w 9501499"/>
              <a:gd name="connsiteY19" fmla="*/ 2035479 h 4164902"/>
              <a:gd name="connsiteX20" fmla="*/ 9319671 w 9501499"/>
              <a:gd name="connsiteY20" fmla="*/ 2311052 h 4164902"/>
              <a:gd name="connsiteX21" fmla="*/ 7183983 w 9501499"/>
              <a:gd name="connsiteY21" fmla="*/ 3106455 h 4164902"/>
              <a:gd name="connsiteX22" fmla="*/ 6319687 w 9501499"/>
              <a:gd name="connsiteY22" fmla="*/ 3043824 h 4164902"/>
              <a:gd name="connsiteX23" fmla="*/ 5793594 w 9501499"/>
              <a:gd name="connsiteY23" fmla="*/ 2974931 h 4164902"/>
              <a:gd name="connsiteX24" fmla="*/ 4321786 w 9501499"/>
              <a:gd name="connsiteY24" fmla="*/ 2812093 h 4164902"/>
              <a:gd name="connsiteX25" fmla="*/ 4171474 w 9501499"/>
              <a:gd name="connsiteY25" fmla="*/ 2943616 h 4164902"/>
              <a:gd name="connsiteX26" fmla="*/ 4465835 w 9501499"/>
              <a:gd name="connsiteY26" fmla="*/ 2999983 h 4164902"/>
              <a:gd name="connsiteX27" fmla="*/ 3933479 w 9501499"/>
              <a:gd name="connsiteY27" fmla="*/ 2711885 h 4164902"/>
              <a:gd name="connsiteX0" fmla="*/ 0 w 9560696"/>
              <a:gd name="connsiteY0" fmla="*/ 4164902 h 4164902"/>
              <a:gd name="connsiteX1" fmla="*/ 2655824 w 9560696"/>
              <a:gd name="connsiteY1" fmla="*/ 3739019 h 4164902"/>
              <a:gd name="connsiteX2" fmla="*/ 4321786 w 9560696"/>
              <a:gd name="connsiteY2" fmla="*/ 2774515 h 4164902"/>
              <a:gd name="connsiteX3" fmla="*/ 4553517 w 9560696"/>
              <a:gd name="connsiteY3" fmla="*/ 2254685 h 4164902"/>
              <a:gd name="connsiteX4" fmla="*/ 4685041 w 9560696"/>
              <a:gd name="connsiteY4" fmla="*/ 1803748 h 4164902"/>
              <a:gd name="connsiteX5" fmla="*/ 5098400 w 9560696"/>
              <a:gd name="connsiteY5" fmla="*/ 1108553 h 4164902"/>
              <a:gd name="connsiteX6" fmla="*/ 5380235 w 9560696"/>
              <a:gd name="connsiteY6" fmla="*/ 770350 h 4164902"/>
              <a:gd name="connsiteX7" fmla="*/ 5530548 w 9560696"/>
              <a:gd name="connsiteY7" fmla="*/ 632564 h 4164902"/>
              <a:gd name="connsiteX8" fmla="*/ 5994011 w 9560696"/>
              <a:gd name="connsiteY8" fmla="*/ 319413 h 4164902"/>
              <a:gd name="connsiteX9" fmla="*/ 6513841 w 9560696"/>
              <a:gd name="connsiteY9" fmla="*/ 112734 h 4164902"/>
              <a:gd name="connsiteX10" fmla="*/ 6758098 w 9560696"/>
              <a:gd name="connsiteY10" fmla="*/ 43841 h 4164902"/>
              <a:gd name="connsiteX11" fmla="*/ 7221561 w 9560696"/>
              <a:gd name="connsiteY11" fmla="*/ 0 h 4164902"/>
              <a:gd name="connsiteX12" fmla="*/ 7829074 w 9560696"/>
              <a:gd name="connsiteY12" fmla="*/ 31315 h 4164902"/>
              <a:gd name="connsiteX13" fmla="*/ 8073331 w 9560696"/>
              <a:gd name="connsiteY13" fmla="*/ 93945 h 4164902"/>
              <a:gd name="connsiteX14" fmla="*/ 8280011 w 9560696"/>
              <a:gd name="connsiteY14" fmla="*/ 169101 h 4164902"/>
              <a:gd name="connsiteX15" fmla="*/ 8668317 w 9560696"/>
              <a:gd name="connsiteY15" fmla="*/ 375781 h 4164902"/>
              <a:gd name="connsiteX16" fmla="*/ 9112991 w 9560696"/>
              <a:gd name="connsiteY16" fmla="*/ 751561 h 4164902"/>
              <a:gd name="connsiteX17" fmla="*/ 9357249 w 9560696"/>
              <a:gd name="connsiteY17" fmla="*/ 1240076 h 4164902"/>
              <a:gd name="connsiteX18" fmla="*/ 9401090 w 9560696"/>
              <a:gd name="connsiteY18" fmla="*/ 1791222 h 4164902"/>
              <a:gd name="connsiteX19" fmla="*/ 9394827 w 9560696"/>
              <a:gd name="connsiteY19" fmla="*/ 2035479 h 4164902"/>
              <a:gd name="connsiteX20" fmla="*/ 7183983 w 9560696"/>
              <a:gd name="connsiteY20" fmla="*/ 3106455 h 4164902"/>
              <a:gd name="connsiteX21" fmla="*/ 6319687 w 9560696"/>
              <a:gd name="connsiteY21" fmla="*/ 3043824 h 4164902"/>
              <a:gd name="connsiteX22" fmla="*/ 5793594 w 9560696"/>
              <a:gd name="connsiteY22" fmla="*/ 2974931 h 4164902"/>
              <a:gd name="connsiteX23" fmla="*/ 4321786 w 9560696"/>
              <a:gd name="connsiteY23" fmla="*/ 2812093 h 4164902"/>
              <a:gd name="connsiteX24" fmla="*/ 4171474 w 9560696"/>
              <a:gd name="connsiteY24" fmla="*/ 2943616 h 4164902"/>
              <a:gd name="connsiteX25" fmla="*/ 4465835 w 9560696"/>
              <a:gd name="connsiteY25" fmla="*/ 2999983 h 4164902"/>
              <a:gd name="connsiteX26" fmla="*/ 3933479 w 9560696"/>
              <a:gd name="connsiteY26" fmla="*/ 2711885 h 4164902"/>
              <a:gd name="connsiteX0" fmla="*/ 0 w 9434827"/>
              <a:gd name="connsiteY0" fmla="*/ 4164902 h 4164902"/>
              <a:gd name="connsiteX1" fmla="*/ 2655824 w 9434827"/>
              <a:gd name="connsiteY1" fmla="*/ 3739019 h 4164902"/>
              <a:gd name="connsiteX2" fmla="*/ 4321786 w 9434827"/>
              <a:gd name="connsiteY2" fmla="*/ 2774515 h 4164902"/>
              <a:gd name="connsiteX3" fmla="*/ 4553517 w 9434827"/>
              <a:gd name="connsiteY3" fmla="*/ 2254685 h 4164902"/>
              <a:gd name="connsiteX4" fmla="*/ 4685041 w 9434827"/>
              <a:gd name="connsiteY4" fmla="*/ 1803748 h 4164902"/>
              <a:gd name="connsiteX5" fmla="*/ 5098400 w 9434827"/>
              <a:gd name="connsiteY5" fmla="*/ 1108553 h 4164902"/>
              <a:gd name="connsiteX6" fmla="*/ 5380235 w 9434827"/>
              <a:gd name="connsiteY6" fmla="*/ 770350 h 4164902"/>
              <a:gd name="connsiteX7" fmla="*/ 5530548 w 9434827"/>
              <a:gd name="connsiteY7" fmla="*/ 632564 h 4164902"/>
              <a:gd name="connsiteX8" fmla="*/ 5994011 w 9434827"/>
              <a:gd name="connsiteY8" fmla="*/ 319413 h 4164902"/>
              <a:gd name="connsiteX9" fmla="*/ 6513841 w 9434827"/>
              <a:gd name="connsiteY9" fmla="*/ 112734 h 4164902"/>
              <a:gd name="connsiteX10" fmla="*/ 6758098 w 9434827"/>
              <a:gd name="connsiteY10" fmla="*/ 43841 h 4164902"/>
              <a:gd name="connsiteX11" fmla="*/ 7221561 w 9434827"/>
              <a:gd name="connsiteY11" fmla="*/ 0 h 4164902"/>
              <a:gd name="connsiteX12" fmla="*/ 7829074 w 9434827"/>
              <a:gd name="connsiteY12" fmla="*/ 31315 h 4164902"/>
              <a:gd name="connsiteX13" fmla="*/ 8073331 w 9434827"/>
              <a:gd name="connsiteY13" fmla="*/ 93945 h 4164902"/>
              <a:gd name="connsiteX14" fmla="*/ 8280011 w 9434827"/>
              <a:gd name="connsiteY14" fmla="*/ 169101 h 4164902"/>
              <a:gd name="connsiteX15" fmla="*/ 8668317 w 9434827"/>
              <a:gd name="connsiteY15" fmla="*/ 375781 h 4164902"/>
              <a:gd name="connsiteX16" fmla="*/ 9112991 w 9434827"/>
              <a:gd name="connsiteY16" fmla="*/ 751561 h 4164902"/>
              <a:gd name="connsiteX17" fmla="*/ 9357249 w 9434827"/>
              <a:gd name="connsiteY17" fmla="*/ 1240076 h 4164902"/>
              <a:gd name="connsiteX18" fmla="*/ 9401090 w 9434827"/>
              <a:gd name="connsiteY18" fmla="*/ 1791222 h 4164902"/>
              <a:gd name="connsiteX19" fmla="*/ 8879025 w 9434827"/>
              <a:gd name="connsiteY19" fmla="*/ 2907829 h 4164902"/>
              <a:gd name="connsiteX20" fmla="*/ 7183983 w 9434827"/>
              <a:gd name="connsiteY20" fmla="*/ 3106455 h 4164902"/>
              <a:gd name="connsiteX21" fmla="*/ 6319687 w 9434827"/>
              <a:gd name="connsiteY21" fmla="*/ 3043824 h 4164902"/>
              <a:gd name="connsiteX22" fmla="*/ 5793594 w 9434827"/>
              <a:gd name="connsiteY22" fmla="*/ 2974931 h 4164902"/>
              <a:gd name="connsiteX23" fmla="*/ 4321786 w 9434827"/>
              <a:gd name="connsiteY23" fmla="*/ 2812093 h 4164902"/>
              <a:gd name="connsiteX24" fmla="*/ 4171474 w 9434827"/>
              <a:gd name="connsiteY24" fmla="*/ 2943616 h 4164902"/>
              <a:gd name="connsiteX25" fmla="*/ 4465835 w 9434827"/>
              <a:gd name="connsiteY25" fmla="*/ 2999983 h 4164902"/>
              <a:gd name="connsiteX26" fmla="*/ 3933479 w 9434827"/>
              <a:gd name="connsiteY26" fmla="*/ 2711885 h 4164902"/>
              <a:gd name="connsiteX0" fmla="*/ 0 w 9405946"/>
              <a:gd name="connsiteY0" fmla="*/ 4164902 h 4164902"/>
              <a:gd name="connsiteX1" fmla="*/ 2655824 w 9405946"/>
              <a:gd name="connsiteY1" fmla="*/ 3739019 h 4164902"/>
              <a:gd name="connsiteX2" fmla="*/ 4321786 w 9405946"/>
              <a:gd name="connsiteY2" fmla="*/ 2774515 h 4164902"/>
              <a:gd name="connsiteX3" fmla="*/ 4553517 w 9405946"/>
              <a:gd name="connsiteY3" fmla="*/ 2254685 h 4164902"/>
              <a:gd name="connsiteX4" fmla="*/ 4685041 w 9405946"/>
              <a:gd name="connsiteY4" fmla="*/ 1803748 h 4164902"/>
              <a:gd name="connsiteX5" fmla="*/ 5098400 w 9405946"/>
              <a:gd name="connsiteY5" fmla="*/ 1108553 h 4164902"/>
              <a:gd name="connsiteX6" fmla="*/ 5380235 w 9405946"/>
              <a:gd name="connsiteY6" fmla="*/ 770350 h 4164902"/>
              <a:gd name="connsiteX7" fmla="*/ 5530548 w 9405946"/>
              <a:gd name="connsiteY7" fmla="*/ 632564 h 4164902"/>
              <a:gd name="connsiteX8" fmla="*/ 5994011 w 9405946"/>
              <a:gd name="connsiteY8" fmla="*/ 319413 h 4164902"/>
              <a:gd name="connsiteX9" fmla="*/ 6513841 w 9405946"/>
              <a:gd name="connsiteY9" fmla="*/ 112734 h 4164902"/>
              <a:gd name="connsiteX10" fmla="*/ 6758098 w 9405946"/>
              <a:gd name="connsiteY10" fmla="*/ 43841 h 4164902"/>
              <a:gd name="connsiteX11" fmla="*/ 7221561 w 9405946"/>
              <a:gd name="connsiteY11" fmla="*/ 0 h 4164902"/>
              <a:gd name="connsiteX12" fmla="*/ 7829074 w 9405946"/>
              <a:gd name="connsiteY12" fmla="*/ 31315 h 4164902"/>
              <a:gd name="connsiteX13" fmla="*/ 8073331 w 9405946"/>
              <a:gd name="connsiteY13" fmla="*/ 93945 h 4164902"/>
              <a:gd name="connsiteX14" fmla="*/ 8280011 w 9405946"/>
              <a:gd name="connsiteY14" fmla="*/ 169101 h 4164902"/>
              <a:gd name="connsiteX15" fmla="*/ 8668317 w 9405946"/>
              <a:gd name="connsiteY15" fmla="*/ 375781 h 4164902"/>
              <a:gd name="connsiteX16" fmla="*/ 9112991 w 9405946"/>
              <a:gd name="connsiteY16" fmla="*/ 751561 h 4164902"/>
              <a:gd name="connsiteX17" fmla="*/ 9401090 w 9405946"/>
              <a:gd name="connsiteY17" fmla="*/ 1791222 h 4164902"/>
              <a:gd name="connsiteX18" fmla="*/ 8879025 w 9405946"/>
              <a:gd name="connsiteY18" fmla="*/ 2907829 h 4164902"/>
              <a:gd name="connsiteX19" fmla="*/ 7183983 w 9405946"/>
              <a:gd name="connsiteY19" fmla="*/ 3106455 h 4164902"/>
              <a:gd name="connsiteX20" fmla="*/ 6319687 w 9405946"/>
              <a:gd name="connsiteY20" fmla="*/ 3043824 h 4164902"/>
              <a:gd name="connsiteX21" fmla="*/ 5793594 w 9405946"/>
              <a:gd name="connsiteY21" fmla="*/ 2974931 h 4164902"/>
              <a:gd name="connsiteX22" fmla="*/ 4321786 w 9405946"/>
              <a:gd name="connsiteY22" fmla="*/ 2812093 h 4164902"/>
              <a:gd name="connsiteX23" fmla="*/ 4171474 w 9405946"/>
              <a:gd name="connsiteY23" fmla="*/ 2943616 h 4164902"/>
              <a:gd name="connsiteX24" fmla="*/ 4465835 w 9405946"/>
              <a:gd name="connsiteY24" fmla="*/ 2999983 h 4164902"/>
              <a:gd name="connsiteX25" fmla="*/ 3933479 w 9405946"/>
              <a:gd name="connsiteY25" fmla="*/ 2711885 h 4164902"/>
              <a:gd name="connsiteX0" fmla="*/ 0 w 9407634"/>
              <a:gd name="connsiteY0" fmla="*/ 4164902 h 4164902"/>
              <a:gd name="connsiteX1" fmla="*/ 2655824 w 9407634"/>
              <a:gd name="connsiteY1" fmla="*/ 3739019 h 4164902"/>
              <a:gd name="connsiteX2" fmla="*/ 4321786 w 9407634"/>
              <a:gd name="connsiteY2" fmla="*/ 2774515 h 4164902"/>
              <a:gd name="connsiteX3" fmla="*/ 4553517 w 9407634"/>
              <a:gd name="connsiteY3" fmla="*/ 2254685 h 4164902"/>
              <a:gd name="connsiteX4" fmla="*/ 4685041 w 9407634"/>
              <a:gd name="connsiteY4" fmla="*/ 1803748 h 4164902"/>
              <a:gd name="connsiteX5" fmla="*/ 5098400 w 9407634"/>
              <a:gd name="connsiteY5" fmla="*/ 1108553 h 4164902"/>
              <a:gd name="connsiteX6" fmla="*/ 5380235 w 9407634"/>
              <a:gd name="connsiteY6" fmla="*/ 770350 h 4164902"/>
              <a:gd name="connsiteX7" fmla="*/ 5530548 w 9407634"/>
              <a:gd name="connsiteY7" fmla="*/ 632564 h 4164902"/>
              <a:gd name="connsiteX8" fmla="*/ 5994011 w 9407634"/>
              <a:gd name="connsiteY8" fmla="*/ 319413 h 4164902"/>
              <a:gd name="connsiteX9" fmla="*/ 6513841 w 9407634"/>
              <a:gd name="connsiteY9" fmla="*/ 112734 h 4164902"/>
              <a:gd name="connsiteX10" fmla="*/ 6758098 w 9407634"/>
              <a:gd name="connsiteY10" fmla="*/ 43841 h 4164902"/>
              <a:gd name="connsiteX11" fmla="*/ 7221561 w 9407634"/>
              <a:gd name="connsiteY11" fmla="*/ 0 h 4164902"/>
              <a:gd name="connsiteX12" fmla="*/ 7829074 w 9407634"/>
              <a:gd name="connsiteY12" fmla="*/ 31315 h 4164902"/>
              <a:gd name="connsiteX13" fmla="*/ 8073331 w 9407634"/>
              <a:gd name="connsiteY13" fmla="*/ 93945 h 4164902"/>
              <a:gd name="connsiteX14" fmla="*/ 8280011 w 9407634"/>
              <a:gd name="connsiteY14" fmla="*/ 169101 h 4164902"/>
              <a:gd name="connsiteX15" fmla="*/ 9112991 w 9407634"/>
              <a:gd name="connsiteY15" fmla="*/ 751561 h 4164902"/>
              <a:gd name="connsiteX16" fmla="*/ 9401090 w 9407634"/>
              <a:gd name="connsiteY16" fmla="*/ 1791222 h 4164902"/>
              <a:gd name="connsiteX17" fmla="*/ 8879025 w 9407634"/>
              <a:gd name="connsiteY17" fmla="*/ 2907829 h 4164902"/>
              <a:gd name="connsiteX18" fmla="*/ 7183983 w 9407634"/>
              <a:gd name="connsiteY18" fmla="*/ 3106455 h 4164902"/>
              <a:gd name="connsiteX19" fmla="*/ 6319687 w 9407634"/>
              <a:gd name="connsiteY19" fmla="*/ 3043824 h 4164902"/>
              <a:gd name="connsiteX20" fmla="*/ 5793594 w 9407634"/>
              <a:gd name="connsiteY20" fmla="*/ 2974931 h 4164902"/>
              <a:gd name="connsiteX21" fmla="*/ 4321786 w 9407634"/>
              <a:gd name="connsiteY21" fmla="*/ 2812093 h 4164902"/>
              <a:gd name="connsiteX22" fmla="*/ 4171474 w 9407634"/>
              <a:gd name="connsiteY22" fmla="*/ 2943616 h 4164902"/>
              <a:gd name="connsiteX23" fmla="*/ 4465835 w 9407634"/>
              <a:gd name="connsiteY23" fmla="*/ 2999983 h 4164902"/>
              <a:gd name="connsiteX24" fmla="*/ 3933479 w 9407634"/>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18350 w 9409039"/>
              <a:gd name="connsiteY13" fmla="*/ 74773 h 4164902"/>
              <a:gd name="connsiteX14" fmla="*/ 8073331 w 9409039"/>
              <a:gd name="connsiteY14" fmla="*/ 93945 h 4164902"/>
              <a:gd name="connsiteX15" fmla="*/ 9112991 w 9409039"/>
              <a:gd name="connsiteY15" fmla="*/ 751561 h 4164902"/>
              <a:gd name="connsiteX16" fmla="*/ 9401090 w 9409039"/>
              <a:gd name="connsiteY16" fmla="*/ 1791222 h 4164902"/>
              <a:gd name="connsiteX17" fmla="*/ 8879025 w 9409039"/>
              <a:gd name="connsiteY17" fmla="*/ 2907829 h 4164902"/>
              <a:gd name="connsiteX18" fmla="*/ 7183983 w 9409039"/>
              <a:gd name="connsiteY18" fmla="*/ 3106455 h 4164902"/>
              <a:gd name="connsiteX19" fmla="*/ 6319687 w 9409039"/>
              <a:gd name="connsiteY19" fmla="*/ 3043824 h 4164902"/>
              <a:gd name="connsiteX20" fmla="*/ 5793594 w 9409039"/>
              <a:gd name="connsiteY20" fmla="*/ 2974931 h 4164902"/>
              <a:gd name="connsiteX21" fmla="*/ 4321786 w 9409039"/>
              <a:gd name="connsiteY21" fmla="*/ 2812093 h 4164902"/>
              <a:gd name="connsiteX22" fmla="*/ 4171474 w 9409039"/>
              <a:gd name="connsiteY22" fmla="*/ 2943616 h 4164902"/>
              <a:gd name="connsiteX23" fmla="*/ 4465835 w 9409039"/>
              <a:gd name="connsiteY23" fmla="*/ 2999983 h 4164902"/>
              <a:gd name="connsiteX24" fmla="*/ 3933479 w 9409039"/>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8018350 w 9409039"/>
              <a:gd name="connsiteY12" fmla="*/ 74773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502"/>
              <a:gd name="connsiteY0" fmla="*/ 4172857 h 4172857"/>
              <a:gd name="connsiteX1" fmla="*/ 2655824 w 9409502"/>
              <a:gd name="connsiteY1" fmla="*/ 3746974 h 4172857"/>
              <a:gd name="connsiteX2" fmla="*/ 4321786 w 9409502"/>
              <a:gd name="connsiteY2" fmla="*/ 2782470 h 4172857"/>
              <a:gd name="connsiteX3" fmla="*/ 4553517 w 9409502"/>
              <a:gd name="connsiteY3" fmla="*/ 2262640 h 4172857"/>
              <a:gd name="connsiteX4" fmla="*/ 4685041 w 9409502"/>
              <a:gd name="connsiteY4" fmla="*/ 1811703 h 4172857"/>
              <a:gd name="connsiteX5" fmla="*/ 5098400 w 9409502"/>
              <a:gd name="connsiteY5" fmla="*/ 1116508 h 4172857"/>
              <a:gd name="connsiteX6" fmla="*/ 5380235 w 9409502"/>
              <a:gd name="connsiteY6" fmla="*/ 778305 h 4172857"/>
              <a:gd name="connsiteX7" fmla="*/ 5530548 w 9409502"/>
              <a:gd name="connsiteY7" fmla="*/ 640519 h 4172857"/>
              <a:gd name="connsiteX8" fmla="*/ 5994011 w 9409502"/>
              <a:gd name="connsiteY8" fmla="*/ 327368 h 4172857"/>
              <a:gd name="connsiteX9" fmla="*/ 6513841 w 9409502"/>
              <a:gd name="connsiteY9" fmla="*/ 120689 h 4172857"/>
              <a:gd name="connsiteX10" fmla="*/ 6758098 w 9409502"/>
              <a:gd name="connsiteY10" fmla="*/ 51796 h 4172857"/>
              <a:gd name="connsiteX11" fmla="*/ 7221561 w 9409502"/>
              <a:gd name="connsiteY11" fmla="*/ 7955 h 4172857"/>
              <a:gd name="connsiteX12" fmla="*/ 8018350 w 9409502"/>
              <a:gd name="connsiteY12" fmla="*/ 82728 h 4172857"/>
              <a:gd name="connsiteX13" fmla="*/ 9112991 w 9409502"/>
              <a:gd name="connsiteY13" fmla="*/ 759516 h 4172857"/>
              <a:gd name="connsiteX14" fmla="*/ 9401090 w 9409502"/>
              <a:gd name="connsiteY14" fmla="*/ 1799177 h 4172857"/>
              <a:gd name="connsiteX15" fmla="*/ 8879025 w 9409502"/>
              <a:gd name="connsiteY15" fmla="*/ 2915784 h 4172857"/>
              <a:gd name="connsiteX16" fmla="*/ 7183983 w 9409502"/>
              <a:gd name="connsiteY16" fmla="*/ 3114410 h 4172857"/>
              <a:gd name="connsiteX17" fmla="*/ 6319687 w 9409502"/>
              <a:gd name="connsiteY17" fmla="*/ 3051779 h 4172857"/>
              <a:gd name="connsiteX18" fmla="*/ 5793594 w 9409502"/>
              <a:gd name="connsiteY18" fmla="*/ 2982886 h 4172857"/>
              <a:gd name="connsiteX19" fmla="*/ 4321786 w 9409502"/>
              <a:gd name="connsiteY19" fmla="*/ 2820048 h 4172857"/>
              <a:gd name="connsiteX20" fmla="*/ 4171474 w 9409502"/>
              <a:gd name="connsiteY20" fmla="*/ 2951571 h 4172857"/>
              <a:gd name="connsiteX21" fmla="*/ 4465835 w 9409502"/>
              <a:gd name="connsiteY21" fmla="*/ 3007938 h 4172857"/>
              <a:gd name="connsiteX22" fmla="*/ 3933479 w 9409502"/>
              <a:gd name="connsiteY22" fmla="*/ 2719840 h 4172857"/>
              <a:gd name="connsiteX0" fmla="*/ 0 w 9409105"/>
              <a:gd name="connsiteY0" fmla="*/ 4172858 h 4172858"/>
              <a:gd name="connsiteX1" fmla="*/ 2655824 w 9409105"/>
              <a:gd name="connsiteY1" fmla="*/ 3746975 h 4172858"/>
              <a:gd name="connsiteX2" fmla="*/ 4321786 w 9409105"/>
              <a:gd name="connsiteY2" fmla="*/ 2782471 h 4172858"/>
              <a:gd name="connsiteX3" fmla="*/ 4553517 w 9409105"/>
              <a:gd name="connsiteY3" fmla="*/ 2262641 h 4172858"/>
              <a:gd name="connsiteX4" fmla="*/ 4685041 w 9409105"/>
              <a:gd name="connsiteY4" fmla="*/ 1811704 h 4172858"/>
              <a:gd name="connsiteX5" fmla="*/ 5098400 w 9409105"/>
              <a:gd name="connsiteY5" fmla="*/ 1116509 h 4172858"/>
              <a:gd name="connsiteX6" fmla="*/ 5380235 w 9409105"/>
              <a:gd name="connsiteY6" fmla="*/ 778306 h 4172858"/>
              <a:gd name="connsiteX7" fmla="*/ 5530548 w 9409105"/>
              <a:gd name="connsiteY7" fmla="*/ 640520 h 4172858"/>
              <a:gd name="connsiteX8" fmla="*/ 5994011 w 9409105"/>
              <a:gd name="connsiteY8" fmla="*/ 327369 h 4172858"/>
              <a:gd name="connsiteX9" fmla="*/ 6513841 w 9409105"/>
              <a:gd name="connsiteY9" fmla="*/ 120690 h 4172858"/>
              <a:gd name="connsiteX10" fmla="*/ 6758098 w 9409105"/>
              <a:gd name="connsiteY10" fmla="*/ 51797 h 4172858"/>
              <a:gd name="connsiteX11" fmla="*/ 7221561 w 9409105"/>
              <a:gd name="connsiteY11" fmla="*/ 7956 h 4172858"/>
              <a:gd name="connsiteX12" fmla="*/ 8018350 w 9409105"/>
              <a:gd name="connsiteY12" fmla="*/ 82729 h 4172858"/>
              <a:gd name="connsiteX13" fmla="*/ 8065240 w 9409105"/>
              <a:gd name="connsiteY13" fmla="*/ 99347 h 4172858"/>
              <a:gd name="connsiteX14" fmla="*/ 9112991 w 9409105"/>
              <a:gd name="connsiteY14" fmla="*/ 759517 h 4172858"/>
              <a:gd name="connsiteX15" fmla="*/ 9401090 w 9409105"/>
              <a:gd name="connsiteY15" fmla="*/ 1799178 h 4172858"/>
              <a:gd name="connsiteX16" fmla="*/ 8879025 w 9409105"/>
              <a:gd name="connsiteY16" fmla="*/ 2915785 h 4172858"/>
              <a:gd name="connsiteX17" fmla="*/ 7183983 w 9409105"/>
              <a:gd name="connsiteY17" fmla="*/ 3114411 h 4172858"/>
              <a:gd name="connsiteX18" fmla="*/ 6319687 w 9409105"/>
              <a:gd name="connsiteY18" fmla="*/ 3051780 h 4172858"/>
              <a:gd name="connsiteX19" fmla="*/ 5793594 w 9409105"/>
              <a:gd name="connsiteY19" fmla="*/ 2982887 h 4172858"/>
              <a:gd name="connsiteX20" fmla="*/ 4321786 w 9409105"/>
              <a:gd name="connsiteY20" fmla="*/ 2820049 h 4172858"/>
              <a:gd name="connsiteX21" fmla="*/ 4171474 w 9409105"/>
              <a:gd name="connsiteY21" fmla="*/ 2951572 h 4172858"/>
              <a:gd name="connsiteX22" fmla="*/ 4465835 w 9409105"/>
              <a:gd name="connsiteY22" fmla="*/ 3007939 h 4172858"/>
              <a:gd name="connsiteX23" fmla="*/ 3933479 w 9409105"/>
              <a:gd name="connsiteY23" fmla="*/ 2719841 h 4172858"/>
              <a:gd name="connsiteX0" fmla="*/ 0 w 9409502"/>
              <a:gd name="connsiteY0" fmla="*/ 4172858 h 4172858"/>
              <a:gd name="connsiteX1" fmla="*/ 2655824 w 9409502"/>
              <a:gd name="connsiteY1" fmla="*/ 3746975 h 4172858"/>
              <a:gd name="connsiteX2" fmla="*/ 4321786 w 9409502"/>
              <a:gd name="connsiteY2" fmla="*/ 2782471 h 4172858"/>
              <a:gd name="connsiteX3" fmla="*/ 4553517 w 9409502"/>
              <a:gd name="connsiteY3" fmla="*/ 2262641 h 4172858"/>
              <a:gd name="connsiteX4" fmla="*/ 4685041 w 9409502"/>
              <a:gd name="connsiteY4" fmla="*/ 1811704 h 4172858"/>
              <a:gd name="connsiteX5" fmla="*/ 5098400 w 9409502"/>
              <a:gd name="connsiteY5" fmla="*/ 1116509 h 4172858"/>
              <a:gd name="connsiteX6" fmla="*/ 5380235 w 9409502"/>
              <a:gd name="connsiteY6" fmla="*/ 778306 h 4172858"/>
              <a:gd name="connsiteX7" fmla="*/ 5530548 w 9409502"/>
              <a:gd name="connsiteY7" fmla="*/ 640520 h 4172858"/>
              <a:gd name="connsiteX8" fmla="*/ 5994011 w 9409502"/>
              <a:gd name="connsiteY8" fmla="*/ 327369 h 4172858"/>
              <a:gd name="connsiteX9" fmla="*/ 6513841 w 9409502"/>
              <a:gd name="connsiteY9" fmla="*/ 120690 h 4172858"/>
              <a:gd name="connsiteX10" fmla="*/ 6758098 w 9409502"/>
              <a:gd name="connsiteY10" fmla="*/ 51797 h 4172858"/>
              <a:gd name="connsiteX11" fmla="*/ 7221561 w 9409502"/>
              <a:gd name="connsiteY11" fmla="*/ 7956 h 4172858"/>
              <a:gd name="connsiteX12" fmla="*/ 8018350 w 9409502"/>
              <a:gd name="connsiteY12" fmla="*/ 82729 h 4172858"/>
              <a:gd name="connsiteX13" fmla="*/ 9112991 w 9409502"/>
              <a:gd name="connsiteY13" fmla="*/ 759517 h 4172858"/>
              <a:gd name="connsiteX14" fmla="*/ 9401090 w 9409502"/>
              <a:gd name="connsiteY14" fmla="*/ 1799178 h 4172858"/>
              <a:gd name="connsiteX15" fmla="*/ 8879025 w 9409502"/>
              <a:gd name="connsiteY15" fmla="*/ 2915785 h 4172858"/>
              <a:gd name="connsiteX16" fmla="*/ 7183983 w 9409502"/>
              <a:gd name="connsiteY16" fmla="*/ 3114411 h 4172858"/>
              <a:gd name="connsiteX17" fmla="*/ 6319687 w 9409502"/>
              <a:gd name="connsiteY17" fmla="*/ 3051780 h 4172858"/>
              <a:gd name="connsiteX18" fmla="*/ 5793594 w 9409502"/>
              <a:gd name="connsiteY18" fmla="*/ 2982887 h 4172858"/>
              <a:gd name="connsiteX19" fmla="*/ 4321786 w 9409502"/>
              <a:gd name="connsiteY19" fmla="*/ 2820049 h 4172858"/>
              <a:gd name="connsiteX20" fmla="*/ 4171474 w 9409502"/>
              <a:gd name="connsiteY20" fmla="*/ 2951572 h 4172858"/>
              <a:gd name="connsiteX21" fmla="*/ 4465835 w 9409502"/>
              <a:gd name="connsiteY21" fmla="*/ 3007939 h 4172858"/>
              <a:gd name="connsiteX22" fmla="*/ 3933479 w 9409502"/>
              <a:gd name="connsiteY22" fmla="*/ 2719841 h 4172858"/>
              <a:gd name="connsiteX0" fmla="*/ 0 w 9424727"/>
              <a:gd name="connsiteY0" fmla="*/ 4164903 h 4164903"/>
              <a:gd name="connsiteX1" fmla="*/ 2655824 w 9424727"/>
              <a:gd name="connsiteY1" fmla="*/ 3739020 h 4164903"/>
              <a:gd name="connsiteX2" fmla="*/ 4321786 w 9424727"/>
              <a:gd name="connsiteY2" fmla="*/ 2774516 h 4164903"/>
              <a:gd name="connsiteX3" fmla="*/ 4553517 w 9424727"/>
              <a:gd name="connsiteY3" fmla="*/ 2254686 h 4164903"/>
              <a:gd name="connsiteX4" fmla="*/ 4685041 w 9424727"/>
              <a:gd name="connsiteY4" fmla="*/ 1803749 h 4164903"/>
              <a:gd name="connsiteX5" fmla="*/ 5098400 w 9424727"/>
              <a:gd name="connsiteY5" fmla="*/ 1108554 h 4164903"/>
              <a:gd name="connsiteX6" fmla="*/ 5380235 w 9424727"/>
              <a:gd name="connsiteY6" fmla="*/ 770351 h 4164903"/>
              <a:gd name="connsiteX7" fmla="*/ 5530548 w 9424727"/>
              <a:gd name="connsiteY7" fmla="*/ 632565 h 4164903"/>
              <a:gd name="connsiteX8" fmla="*/ 5994011 w 9424727"/>
              <a:gd name="connsiteY8" fmla="*/ 319414 h 4164903"/>
              <a:gd name="connsiteX9" fmla="*/ 6513841 w 9424727"/>
              <a:gd name="connsiteY9" fmla="*/ 112735 h 4164903"/>
              <a:gd name="connsiteX10" fmla="*/ 6758098 w 9424727"/>
              <a:gd name="connsiteY10" fmla="*/ 43842 h 4164903"/>
              <a:gd name="connsiteX11" fmla="*/ 7221561 w 9424727"/>
              <a:gd name="connsiteY11" fmla="*/ 1 h 4164903"/>
              <a:gd name="connsiteX12" fmla="*/ 9112991 w 9424727"/>
              <a:gd name="connsiteY12" fmla="*/ 751562 h 4164903"/>
              <a:gd name="connsiteX13" fmla="*/ 9401090 w 9424727"/>
              <a:gd name="connsiteY13" fmla="*/ 1791223 h 4164903"/>
              <a:gd name="connsiteX14" fmla="*/ 8879025 w 9424727"/>
              <a:gd name="connsiteY14" fmla="*/ 2907830 h 4164903"/>
              <a:gd name="connsiteX15" fmla="*/ 7183983 w 9424727"/>
              <a:gd name="connsiteY15" fmla="*/ 3106456 h 4164903"/>
              <a:gd name="connsiteX16" fmla="*/ 6319687 w 9424727"/>
              <a:gd name="connsiteY16" fmla="*/ 3043825 h 4164903"/>
              <a:gd name="connsiteX17" fmla="*/ 5793594 w 9424727"/>
              <a:gd name="connsiteY17" fmla="*/ 2974932 h 4164903"/>
              <a:gd name="connsiteX18" fmla="*/ 4321786 w 9424727"/>
              <a:gd name="connsiteY18" fmla="*/ 2812094 h 4164903"/>
              <a:gd name="connsiteX19" fmla="*/ 4171474 w 9424727"/>
              <a:gd name="connsiteY19" fmla="*/ 2943617 h 4164903"/>
              <a:gd name="connsiteX20" fmla="*/ 4465835 w 9424727"/>
              <a:gd name="connsiteY20" fmla="*/ 2999984 h 4164903"/>
              <a:gd name="connsiteX21" fmla="*/ 3933479 w 9424727"/>
              <a:gd name="connsiteY21" fmla="*/ 2711886 h 4164903"/>
              <a:gd name="connsiteX0" fmla="*/ 0 w 9424727"/>
              <a:gd name="connsiteY0" fmla="*/ 4199826 h 4199826"/>
              <a:gd name="connsiteX1" fmla="*/ 2655824 w 9424727"/>
              <a:gd name="connsiteY1" fmla="*/ 3773943 h 4199826"/>
              <a:gd name="connsiteX2" fmla="*/ 4321786 w 9424727"/>
              <a:gd name="connsiteY2" fmla="*/ 2809439 h 4199826"/>
              <a:gd name="connsiteX3" fmla="*/ 4553517 w 9424727"/>
              <a:gd name="connsiteY3" fmla="*/ 2289609 h 4199826"/>
              <a:gd name="connsiteX4" fmla="*/ 4685041 w 9424727"/>
              <a:gd name="connsiteY4" fmla="*/ 1838672 h 4199826"/>
              <a:gd name="connsiteX5" fmla="*/ 5098400 w 9424727"/>
              <a:gd name="connsiteY5" fmla="*/ 1143477 h 4199826"/>
              <a:gd name="connsiteX6" fmla="*/ 5380235 w 9424727"/>
              <a:gd name="connsiteY6" fmla="*/ 805274 h 4199826"/>
              <a:gd name="connsiteX7" fmla="*/ 5530548 w 9424727"/>
              <a:gd name="connsiteY7" fmla="*/ 667488 h 4199826"/>
              <a:gd name="connsiteX8" fmla="*/ 5994011 w 9424727"/>
              <a:gd name="connsiteY8" fmla="*/ 354337 h 4199826"/>
              <a:gd name="connsiteX9" fmla="*/ 6513841 w 9424727"/>
              <a:gd name="connsiteY9" fmla="*/ 147658 h 4199826"/>
              <a:gd name="connsiteX10" fmla="*/ 7221561 w 9424727"/>
              <a:gd name="connsiteY10" fmla="*/ 34924 h 4199826"/>
              <a:gd name="connsiteX11" fmla="*/ 9112991 w 9424727"/>
              <a:gd name="connsiteY11" fmla="*/ 786485 h 4199826"/>
              <a:gd name="connsiteX12" fmla="*/ 9401090 w 9424727"/>
              <a:gd name="connsiteY12" fmla="*/ 1826146 h 4199826"/>
              <a:gd name="connsiteX13" fmla="*/ 8879025 w 9424727"/>
              <a:gd name="connsiteY13" fmla="*/ 2942753 h 4199826"/>
              <a:gd name="connsiteX14" fmla="*/ 7183983 w 9424727"/>
              <a:gd name="connsiteY14" fmla="*/ 3141379 h 4199826"/>
              <a:gd name="connsiteX15" fmla="*/ 6319687 w 9424727"/>
              <a:gd name="connsiteY15" fmla="*/ 3078748 h 4199826"/>
              <a:gd name="connsiteX16" fmla="*/ 5793594 w 9424727"/>
              <a:gd name="connsiteY16" fmla="*/ 3009855 h 4199826"/>
              <a:gd name="connsiteX17" fmla="*/ 4321786 w 9424727"/>
              <a:gd name="connsiteY17" fmla="*/ 2847017 h 4199826"/>
              <a:gd name="connsiteX18" fmla="*/ 4171474 w 9424727"/>
              <a:gd name="connsiteY18" fmla="*/ 2978540 h 4199826"/>
              <a:gd name="connsiteX19" fmla="*/ 4465835 w 9424727"/>
              <a:gd name="connsiteY19" fmla="*/ 3034907 h 4199826"/>
              <a:gd name="connsiteX20" fmla="*/ 3933479 w 9424727"/>
              <a:gd name="connsiteY20" fmla="*/ 2746809 h 4199826"/>
              <a:gd name="connsiteX0" fmla="*/ 0 w 9455586"/>
              <a:gd name="connsiteY0" fmla="*/ 4067256 h 4067256"/>
              <a:gd name="connsiteX1" fmla="*/ 2655824 w 9455586"/>
              <a:gd name="connsiteY1" fmla="*/ 3641373 h 4067256"/>
              <a:gd name="connsiteX2" fmla="*/ 4321786 w 9455586"/>
              <a:gd name="connsiteY2" fmla="*/ 2676869 h 4067256"/>
              <a:gd name="connsiteX3" fmla="*/ 4553517 w 9455586"/>
              <a:gd name="connsiteY3" fmla="*/ 2157039 h 4067256"/>
              <a:gd name="connsiteX4" fmla="*/ 4685041 w 9455586"/>
              <a:gd name="connsiteY4" fmla="*/ 1706102 h 4067256"/>
              <a:gd name="connsiteX5" fmla="*/ 5098400 w 9455586"/>
              <a:gd name="connsiteY5" fmla="*/ 1010907 h 4067256"/>
              <a:gd name="connsiteX6" fmla="*/ 5380235 w 9455586"/>
              <a:gd name="connsiteY6" fmla="*/ 672704 h 4067256"/>
              <a:gd name="connsiteX7" fmla="*/ 5530548 w 9455586"/>
              <a:gd name="connsiteY7" fmla="*/ 534918 h 4067256"/>
              <a:gd name="connsiteX8" fmla="*/ 5994011 w 9455586"/>
              <a:gd name="connsiteY8" fmla="*/ 221767 h 4067256"/>
              <a:gd name="connsiteX9" fmla="*/ 6513841 w 9455586"/>
              <a:gd name="connsiteY9" fmla="*/ 15088 h 4067256"/>
              <a:gd name="connsiteX10" fmla="*/ 9112991 w 9455586"/>
              <a:gd name="connsiteY10" fmla="*/ 653915 h 4067256"/>
              <a:gd name="connsiteX11" fmla="*/ 9401090 w 9455586"/>
              <a:gd name="connsiteY11" fmla="*/ 1693576 h 4067256"/>
              <a:gd name="connsiteX12" fmla="*/ 8879025 w 9455586"/>
              <a:gd name="connsiteY12" fmla="*/ 2810183 h 4067256"/>
              <a:gd name="connsiteX13" fmla="*/ 7183983 w 9455586"/>
              <a:gd name="connsiteY13" fmla="*/ 3008809 h 4067256"/>
              <a:gd name="connsiteX14" fmla="*/ 6319687 w 9455586"/>
              <a:gd name="connsiteY14" fmla="*/ 2946178 h 4067256"/>
              <a:gd name="connsiteX15" fmla="*/ 5793594 w 9455586"/>
              <a:gd name="connsiteY15" fmla="*/ 2877285 h 4067256"/>
              <a:gd name="connsiteX16" fmla="*/ 4321786 w 9455586"/>
              <a:gd name="connsiteY16" fmla="*/ 2714447 h 4067256"/>
              <a:gd name="connsiteX17" fmla="*/ 4171474 w 9455586"/>
              <a:gd name="connsiteY17" fmla="*/ 2845970 h 4067256"/>
              <a:gd name="connsiteX18" fmla="*/ 4465835 w 9455586"/>
              <a:gd name="connsiteY18" fmla="*/ 2902337 h 4067256"/>
              <a:gd name="connsiteX19" fmla="*/ 3933479 w 9455586"/>
              <a:gd name="connsiteY19" fmla="*/ 2614239 h 4067256"/>
              <a:gd name="connsiteX0" fmla="*/ 0 w 9537828"/>
              <a:gd name="connsiteY0" fmla="*/ 4133826 h 4133826"/>
              <a:gd name="connsiteX1" fmla="*/ 2655824 w 9537828"/>
              <a:gd name="connsiteY1" fmla="*/ 3707943 h 4133826"/>
              <a:gd name="connsiteX2" fmla="*/ 4321786 w 9537828"/>
              <a:gd name="connsiteY2" fmla="*/ 2743439 h 4133826"/>
              <a:gd name="connsiteX3" fmla="*/ 4553517 w 9537828"/>
              <a:gd name="connsiteY3" fmla="*/ 2223609 h 4133826"/>
              <a:gd name="connsiteX4" fmla="*/ 4685041 w 9537828"/>
              <a:gd name="connsiteY4" fmla="*/ 1772672 h 4133826"/>
              <a:gd name="connsiteX5" fmla="*/ 5098400 w 9537828"/>
              <a:gd name="connsiteY5" fmla="*/ 1077477 h 4133826"/>
              <a:gd name="connsiteX6" fmla="*/ 5380235 w 9537828"/>
              <a:gd name="connsiteY6" fmla="*/ 739274 h 4133826"/>
              <a:gd name="connsiteX7" fmla="*/ 5530548 w 9537828"/>
              <a:gd name="connsiteY7" fmla="*/ 601488 h 4133826"/>
              <a:gd name="connsiteX8" fmla="*/ 5994011 w 9537828"/>
              <a:gd name="connsiteY8" fmla="*/ 288337 h 4133826"/>
              <a:gd name="connsiteX9" fmla="*/ 6513841 w 9537828"/>
              <a:gd name="connsiteY9" fmla="*/ 81658 h 4133826"/>
              <a:gd name="connsiteX10" fmla="*/ 9401090 w 9537828"/>
              <a:gd name="connsiteY10" fmla="*/ 1760146 h 4133826"/>
              <a:gd name="connsiteX11" fmla="*/ 8879025 w 9537828"/>
              <a:gd name="connsiteY11" fmla="*/ 2876753 h 4133826"/>
              <a:gd name="connsiteX12" fmla="*/ 7183983 w 9537828"/>
              <a:gd name="connsiteY12" fmla="*/ 3075379 h 4133826"/>
              <a:gd name="connsiteX13" fmla="*/ 6319687 w 9537828"/>
              <a:gd name="connsiteY13" fmla="*/ 3012748 h 4133826"/>
              <a:gd name="connsiteX14" fmla="*/ 5793594 w 9537828"/>
              <a:gd name="connsiteY14" fmla="*/ 2943855 h 4133826"/>
              <a:gd name="connsiteX15" fmla="*/ 4321786 w 9537828"/>
              <a:gd name="connsiteY15" fmla="*/ 2781017 h 4133826"/>
              <a:gd name="connsiteX16" fmla="*/ 4171474 w 9537828"/>
              <a:gd name="connsiteY16" fmla="*/ 2912540 h 4133826"/>
              <a:gd name="connsiteX17" fmla="*/ 4465835 w 9537828"/>
              <a:gd name="connsiteY17" fmla="*/ 2968907 h 4133826"/>
              <a:gd name="connsiteX18" fmla="*/ 3933479 w 9537828"/>
              <a:gd name="connsiteY18" fmla="*/ 2680809 h 4133826"/>
              <a:gd name="connsiteX0" fmla="*/ 0 w 9574428"/>
              <a:gd name="connsiteY0" fmla="*/ 3895190 h 3895190"/>
              <a:gd name="connsiteX1" fmla="*/ 2655824 w 9574428"/>
              <a:gd name="connsiteY1" fmla="*/ 3469307 h 3895190"/>
              <a:gd name="connsiteX2" fmla="*/ 4321786 w 9574428"/>
              <a:gd name="connsiteY2" fmla="*/ 2504803 h 3895190"/>
              <a:gd name="connsiteX3" fmla="*/ 4553517 w 9574428"/>
              <a:gd name="connsiteY3" fmla="*/ 1984973 h 3895190"/>
              <a:gd name="connsiteX4" fmla="*/ 4685041 w 9574428"/>
              <a:gd name="connsiteY4" fmla="*/ 1534036 h 3895190"/>
              <a:gd name="connsiteX5" fmla="*/ 5098400 w 9574428"/>
              <a:gd name="connsiteY5" fmla="*/ 838841 h 3895190"/>
              <a:gd name="connsiteX6" fmla="*/ 5380235 w 9574428"/>
              <a:gd name="connsiteY6" fmla="*/ 500638 h 3895190"/>
              <a:gd name="connsiteX7" fmla="*/ 5530548 w 9574428"/>
              <a:gd name="connsiteY7" fmla="*/ 362852 h 3895190"/>
              <a:gd name="connsiteX8" fmla="*/ 5994011 w 9574428"/>
              <a:gd name="connsiteY8" fmla="*/ 49701 h 3895190"/>
              <a:gd name="connsiteX9" fmla="*/ 9401090 w 9574428"/>
              <a:gd name="connsiteY9" fmla="*/ 1521510 h 3895190"/>
              <a:gd name="connsiteX10" fmla="*/ 8879025 w 9574428"/>
              <a:gd name="connsiteY10" fmla="*/ 2638117 h 3895190"/>
              <a:gd name="connsiteX11" fmla="*/ 7183983 w 9574428"/>
              <a:gd name="connsiteY11" fmla="*/ 2836743 h 3895190"/>
              <a:gd name="connsiteX12" fmla="*/ 6319687 w 9574428"/>
              <a:gd name="connsiteY12" fmla="*/ 2774112 h 3895190"/>
              <a:gd name="connsiteX13" fmla="*/ 5793594 w 9574428"/>
              <a:gd name="connsiteY13" fmla="*/ 2705219 h 3895190"/>
              <a:gd name="connsiteX14" fmla="*/ 4321786 w 9574428"/>
              <a:gd name="connsiteY14" fmla="*/ 2542381 h 3895190"/>
              <a:gd name="connsiteX15" fmla="*/ 4171474 w 9574428"/>
              <a:gd name="connsiteY15" fmla="*/ 2673904 h 3895190"/>
              <a:gd name="connsiteX16" fmla="*/ 4465835 w 9574428"/>
              <a:gd name="connsiteY16" fmla="*/ 2730271 h 3895190"/>
              <a:gd name="connsiteX17" fmla="*/ 3933479 w 9574428"/>
              <a:gd name="connsiteY17" fmla="*/ 2442173 h 3895190"/>
              <a:gd name="connsiteX0" fmla="*/ 0 w 9434022"/>
              <a:gd name="connsiteY0" fmla="*/ 4067155 h 4067155"/>
              <a:gd name="connsiteX1" fmla="*/ 2655824 w 9434022"/>
              <a:gd name="connsiteY1" fmla="*/ 3641272 h 4067155"/>
              <a:gd name="connsiteX2" fmla="*/ 4321786 w 9434022"/>
              <a:gd name="connsiteY2" fmla="*/ 2676768 h 4067155"/>
              <a:gd name="connsiteX3" fmla="*/ 4553517 w 9434022"/>
              <a:gd name="connsiteY3" fmla="*/ 2156938 h 4067155"/>
              <a:gd name="connsiteX4" fmla="*/ 4685041 w 9434022"/>
              <a:gd name="connsiteY4" fmla="*/ 1706001 h 4067155"/>
              <a:gd name="connsiteX5" fmla="*/ 5098400 w 9434022"/>
              <a:gd name="connsiteY5" fmla="*/ 1010806 h 4067155"/>
              <a:gd name="connsiteX6" fmla="*/ 5380235 w 9434022"/>
              <a:gd name="connsiteY6" fmla="*/ 672603 h 4067155"/>
              <a:gd name="connsiteX7" fmla="*/ 5530548 w 9434022"/>
              <a:gd name="connsiteY7" fmla="*/ 534817 h 4067155"/>
              <a:gd name="connsiteX8" fmla="*/ 8085348 w 9434022"/>
              <a:gd name="connsiteY8" fmla="*/ 38888 h 4067155"/>
              <a:gd name="connsiteX9" fmla="*/ 9401090 w 9434022"/>
              <a:gd name="connsiteY9" fmla="*/ 1693475 h 4067155"/>
              <a:gd name="connsiteX10" fmla="*/ 8879025 w 9434022"/>
              <a:gd name="connsiteY10" fmla="*/ 2810082 h 4067155"/>
              <a:gd name="connsiteX11" fmla="*/ 7183983 w 9434022"/>
              <a:gd name="connsiteY11" fmla="*/ 3008708 h 4067155"/>
              <a:gd name="connsiteX12" fmla="*/ 6319687 w 9434022"/>
              <a:gd name="connsiteY12" fmla="*/ 2946077 h 4067155"/>
              <a:gd name="connsiteX13" fmla="*/ 5793594 w 9434022"/>
              <a:gd name="connsiteY13" fmla="*/ 2877184 h 4067155"/>
              <a:gd name="connsiteX14" fmla="*/ 4321786 w 9434022"/>
              <a:gd name="connsiteY14" fmla="*/ 2714346 h 4067155"/>
              <a:gd name="connsiteX15" fmla="*/ 4171474 w 9434022"/>
              <a:gd name="connsiteY15" fmla="*/ 2845869 h 4067155"/>
              <a:gd name="connsiteX16" fmla="*/ 4465835 w 9434022"/>
              <a:gd name="connsiteY16" fmla="*/ 2902236 h 4067155"/>
              <a:gd name="connsiteX17" fmla="*/ 3933479 w 9434022"/>
              <a:gd name="connsiteY17" fmla="*/ 2614138 h 4067155"/>
              <a:gd name="connsiteX0" fmla="*/ 0 w 9434022"/>
              <a:gd name="connsiteY0" fmla="*/ 4070221 h 4070221"/>
              <a:gd name="connsiteX1" fmla="*/ 2655824 w 9434022"/>
              <a:gd name="connsiteY1" fmla="*/ 3644338 h 4070221"/>
              <a:gd name="connsiteX2" fmla="*/ 4321786 w 9434022"/>
              <a:gd name="connsiteY2" fmla="*/ 2679834 h 4070221"/>
              <a:gd name="connsiteX3" fmla="*/ 4553517 w 9434022"/>
              <a:gd name="connsiteY3" fmla="*/ 2160004 h 4070221"/>
              <a:gd name="connsiteX4" fmla="*/ 4685041 w 9434022"/>
              <a:gd name="connsiteY4" fmla="*/ 1709067 h 4070221"/>
              <a:gd name="connsiteX5" fmla="*/ 5098400 w 9434022"/>
              <a:gd name="connsiteY5" fmla="*/ 1013872 h 4070221"/>
              <a:gd name="connsiteX6" fmla="*/ 5530548 w 9434022"/>
              <a:gd name="connsiteY6" fmla="*/ 537883 h 4070221"/>
              <a:gd name="connsiteX7" fmla="*/ 8085348 w 9434022"/>
              <a:gd name="connsiteY7" fmla="*/ 41954 h 4070221"/>
              <a:gd name="connsiteX8" fmla="*/ 9401090 w 9434022"/>
              <a:gd name="connsiteY8" fmla="*/ 1696541 h 4070221"/>
              <a:gd name="connsiteX9" fmla="*/ 8879025 w 9434022"/>
              <a:gd name="connsiteY9" fmla="*/ 2813148 h 4070221"/>
              <a:gd name="connsiteX10" fmla="*/ 7183983 w 9434022"/>
              <a:gd name="connsiteY10" fmla="*/ 3011774 h 4070221"/>
              <a:gd name="connsiteX11" fmla="*/ 6319687 w 9434022"/>
              <a:gd name="connsiteY11" fmla="*/ 2949143 h 4070221"/>
              <a:gd name="connsiteX12" fmla="*/ 5793594 w 9434022"/>
              <a:gd name="connsiteY12" fmla="*/ 2880250 h 4070221"/>
              <a:gd name="connsiteX13" fmla="*/ 4321786 w 9434022"/>
              <a:gd name="connsiteY13" fmla="*/ 2717412 h 4070221"/>
              <a:gd name="connsiteX14" fmla="*/ 4171474 w 9434022"/>
              <a:gd name="connsiteY14" fmla="*/ 2848935 h 4070221"/>
              <a:gd name="connsiteX15" fmla="*/ 4465835 w 9434022"/>
              <a:gd name="connsiteY15" fmla="*/ 2905302 h 4070221"/>
              <a:gd name="connsiteX16" fmla="*/ 3933479 w 9434022"/>
              <a:gd name="connsiteY16" fmla="*/ 2617204 h 4070221"/>
              <a:gd name="connsiteX0" fmla="*/ 0 w 9434022"/>
              <a:gd name="connsiteY0" fmla="*/ 4078111 h 4078111"/>
              <a:gd name="connsiteX1" fmla="*/ 2655824 w 9434022"/>
              <a:gd name="connsiteY1" fmla="*/ 3652228 h 4078111"/>
              <a:gd name="connsiteX2" fmla="*/ 4321786 w 9434022"/>
              <a:gd name="connsiteY2" fmla="*/ 2687724 h 4078111"/>
              <a:gd name="connsiteX3" fmla="*/ 4553517 w 9434022"/>
              <a:gd name="connsiteY3" fmla="*/ 2167894 h 4078111"/>
              <a:gd name="connsiteX4" fmla="*/ 4685041 w 9434022"/>
              <a:gd name="connsiteY4" fmla="*/ 1716957 h 4078111"/>
              <a:gd name="connsiteX5" fmla="*/ 5530548 w 9434022"/>
              <a:gd name="connsiteY5" fmla="*/ 545773 h 4078111"/>
              <a:gd name="connsiteX6" fmla="*/ 8085348 w 9434022"/>
              <a:gd name="connsiteY6" fmla="*/ 49844 h 4078111"/>
              <a:gd name="connsiteX7" fmla="*/ 9401090 w 9434022"/>
              <a:gd name="connsiteY7" fmla="*/ 1704431 h 4078111"/>
              <a:gd name="connsiteX8" fmla="*/ 8879025 w 9434022"/>
              <a:gd name="connsiteY8" fmla="*/ 2821038 h 4078111"/>
              <a:gd name="connsiteX9" fmla="*/ 7183983 w 9434022"/>
              <a:gd name="connsiteY9" fmla="*/ 3019664 h 4078111"/>
              <a:gd name="connsiteX10" fmla="*/ 6319687 w 9434022"/>
              <a:gd name="connsiteY10" fmla="*/ 2957033 h 4078111"/>
              <a:gd name="connsiteX11" fmla="*/ 5793594 w 9434022"/>
              <a:gd name="connsiteY11" fmla="*/ 2888140 h 4078111"/>
              <a:gd name="connsiteX12" fmla="*/ 4321786 w 9434022"/>
              <a:gd name="connsiteY12" fmla="*/ 2725302 h 4078111"/>
              <a:gd name="connsiteX13" fmla="*/ 4171474 w 9434022"/>
              <a:gd name="connsiteY13" fmla="*/ 2856825 h 4078111"/>
              <a:gd name="connsiteX14" fmla="*/ 4465835 w 9434022"/>
              <a:gd name="connsiteY14" fmla="*/ 2913192 h 4078111"/>
              <a:gd name="connsiteX15" fmla="*/ 3933479 w 9434022"/>
              <a:gd name="connsiteY15" fmla="*/ 2625094 h 4078111"/>
              <a:gd name="connsiteX0" fmla="*/ 0 w 9434022"/>
              <a:gd name="connsiteY0" fmla="*/ 4084740 h 4084740"/>
              <a:gd name="connsiteX1" fmla="*/ 2655824 w 9434022"/>
              <a:gd name="connsiteY1" fmla="*/ 3658857 h 4084740"/>
              <a:gd name="connsiteX2" fmla="*/ 4321786 w 9434022"/>
              <a:gd name="connsiteY2" fmla="*/ 2694353 h 4084740"/>
              <a:gd name="connsiteX3" fmla="*/ 4553517 w 9434022"/>
              <a:gd name="connsiteY3" fmla="*/ 2174523 h 4084740"/>
              <a:gd name="connsiteX4" fmla="*/ 5530548 w 9434022"/>
              <a:gd name="connsiteY4" fmla="*/ 552402 h 4084740"/>
              <a:gd name="connsiteX5" fmla="*/ 8085348 w 9434022"/>
              <a:gd name="connsiteY5" fmla="*/ 56473 h 4084740"/>
              <a:gd name="connsiteX6" fmla="*/ 9401090 w 9434022"/>
              <a:gd name="connsiteY6" fmla="*/ 1711060 h 4084740"/>
              <a:gd name="connsiteX7" fmla="*/ 8879025 w 9434022"/>
              <a:gd name="connsiteY7" fmla="*/ 2827667 h 4084740"/>
              <a:gd name="connsiteX8" fmla="*/ 7183983 w 9434022"/>
              <a:gd name="connsiteY8" fmla="*/ 3026293 h 4084740"/>
              <a:gd name="connsiteX9" fmla="*/ 6319687 w 9434022"/>
              <a:gd name="connsiteY9" fmla="*/ 2963662 h 4084740"/>
              <a:gd name="connsiteX10" fmla="*/ 5793594 w 9434022"/>
              <a:gd name="connsiteY10" fmla="*/ 2894769 h 4084740"/>
              <a:gd name="connsiteX11" fmla="*/ 4321786 w 9434022"/>
              <a:gd name="connsiteY11" fmla="*/ 2731931 h 4084740"/>
              <a:gd name="connsiteX12" fmla="*/ 4171474 w 9434022"/>
              <a:gd name="connsiteY12" fmla="*/ 2863454 h 4084740"/>
              <a:gd name="connsiteX13" fmla="*/ 4465835 w 9434022"/>
              <a:gd name="connsiteY13" fmla="*/ 2919821 h 4084740"/>
              <a:gd name="connsiteX14" fmla="*/ 3933479 w 9434022"/>
              <a:gd name="connsiteY14" fmla="*/ 2631723 h 4084740"/>
              <a:gd name="connsiteX0" fmla="*/ 0 w 9434022"/>
              <a:gd name="connsiteY0" fmla="*/ 4094373 h 4094373"/>
              <a:gd name="connsiteX1" fmla="*/ 2655824 w 9434022"/>
              <a:gd name="connsiteY1" fmla="*/ 3668490 h 4094373"/>
              <a:gd name="connsiteX2" fmla="*/ 4321786 w 9434022"/>
              <a:gd name="connsiteY2" fmla="*/ 2703986 h 4094373"/>
              <a:gd name="connsiteX3" fmla="*/ 5530548 w 9434022"/>
              <a:gd name="connsiteY3" fmla="*/ 562035 h 4094373"/>
              <a:gd name="connsiteX4" fmla="*/ 8085348 w 9434022"/>
              <a:gd name="connsiteY4" fmla="*/ 66106 h 4094373"/>
              <a:gd name="connsiteX5" fmla="*/ 9401090 w 9434022"/>
              <a:gd name="connsiteY5" fmla="*/ 1720693 h 4094373"/>
              <a:gd name="connsiteX6" fmla="*/ 8879025 w 9434022"/>
              <a:gd name="connsiteY6" fmla="*/ 2837300 h 4094373"/>
              <a:gd name="connsiteX7" fmla="*/ 7183983 w 9434022"/>
              <a:gd name="connsiteY7" fmla="*/ 3035926 h 4094373"/>
              <a:gd name="connsiteX8" fmla="*/ 6319687 w 9434022"/>
              <a:gd name="connsiteY8" fmla="*/ 2973295 h 4094373"/>
              <a:gd name="connsiteX9" fmla="*/ 5793594 w 9434022"/>
              <a:gd name="connsiteY9" fmla="*/ 2904402 h 4094373"/>
              <a:gd name="connsiteX10" fmla="*/ 4321786 w 9434022"/>
              <a:gd name="connsiteY10" fmla="*/ 2741564 h 4094373"/>
              <a:gd name="connsiteX11" fmla="*/ 4171474 w 9434022"/>
              <a:gd name="connsiteY11" fmla="*/ 2873087 h 4094373"/>
              <a:gd name="connsiteX12" fmla="*/ 4465835 w 9434022"/>
              <a:gd name="connsiteY12" fmla="*/ 2929454 h 4094373"/>
              <a:gd name="connsiteX13" fmla="*/ 3933479 w 9434022"/>
              <a:gd name="connsiteY13" fmla="*/ 2641356 h 4094373"/>
              <a:gd name="connsiteX0" fmla="*/ 0 w 9434022"/>
              <a:gd name="connsiteY0" fmla="*/ 4111633 h 4111633"/>
              <a:gd name="connsiteX1" fmla="*/ 2655824 w 9434022"/>
              <a:gd name="connsiteY1" fmla="*/ 3685750 h 4111633"/>
              <a:gd name="connsiteX2" fmla="*/ 4321786 w 9434022"/>
              <a:gd name="connsiteY2" fmla="*/ 2721246 h 4111633"/>
              <a:gd name="connsiteX3" fmla="*/ 5530548 w 9434022"/>
              <a:gd name="connsiteY3" fmla="*/ 579295 h 4111633"/>
              <a:gd name="connsiteX4" fmla="*/ 8085348 w 9434022"/>
              <a:gd name="connsiteY4" fmla="*/ 83366 h 4111633"/>
              <a:gd name="connsiteX5" fmla="*/ 9401090 w 9434022"/>
              <a:gd name="connsiteY5" fmla="*/ 1737953 h 4111633"/>
              <a:gd name="connsiteX6" fmla="*/ 8879025 w 9434022"/>
              <a:gd name="connsiteY6" fmla="*/ 2854560 h 4111633"/>
              <a:gd name="connsiteX7" fmla="*/ 7183983 w 9434022"/>
              <a:gd name="connsiteY7" fmla="*/ 3053186 h 4111633"/>
              <a:gd name="connsiteX8" fmla="*/ 6319687 w 9434022"/>
              <a:gd name="connsiteY8" fmla="*/ 2990555 h 4111633"/>
              <a:gd name="connsiteX9" fmla="*/ 5793594 w 9434022"/>
              <a:gd name="connsiteY9" fmla="*/ 2921662 h 4111633"/>
              <a:gd name="connsiteX10" fmla="*/ 4321786 w 9434022"/>
              <a:gd name="connsiteY10" fmla="*/ 2758824 h 4111633"/>
              <a:gd name="connsiteX11" fmla="*/ 4171474 w 9434022"/>
              <a:gd name="connsiteY11" fmla="*/ 2890347 h 4111633"/>
              <a:gd name="connsiteX12" fmla="*/ 4465835 w 9434022"/>
              <a:gd name="connsiteY12" fmla="*/ 2946714 h 4111633"/>
              <a:gd name="connsiteX13" fmla="*/ 3933479 w 9434022"/>
              <a:gd name="connsiteY13" fmla="*/ 2658616 h 4111633"/>
              <a:gd name="connsiteX0" fmla="*/ 0 w 9434022"/>
              <a:gd name="connsiteY0" fmla="*/ 4114443 h 4114443"/>
              <a:gd name="connsiteX1" fmla="*/ 2655824 w 9434022"/>
              <a:gd name="connsiteY1" fmla="*/ 3688560 h 4114443"/>
              <a:gd name="connsiteX2" fmla="*/ 4321786 w 9434022"/>
              <a:gd name="connsiteY2" fmla="*/ 2724056 h 4114443"/>
              <a:gd name="connsiteX3" fmla="*/ 5530548 w 9434022"/>
              <a:gd name="connsiteY3" fmla="*/ 582105 h 4114443"/>
              <a:gd name="connsiteX4" fmla="*/ 8085348 w 9434022"/>
              <a:gd name="connsiteY4" fmla="*/ 86176 h 4114443"/>
              <a:gd name="connsiteX5" fmla="*/ 9401090 w 9434022"/>
              <a:gd name="connsiteY5" fmla="*/ 1740763 h 4114443"/>
              <a:gd name="connsiteX6" fmla="*/ 8879025 w 9434022"/>
              <a:gd name="connsiteY6" fmla="*/ 2857370 h 4114443"/>
              <a:gd name="connsiteX7" fmla="*/ 7183983 w 9434022"/>
              <a:gd name="connsiteY7" fmla="*/ 3055996 h 4114443"/>
              <a:gd name="connsiteX8" fmla="*/ 6319687 w 9434022"/>
              <a:gd name="connsiteY8" fmla="*/ 2993365 h 4114443"/>
              <a:gd name="connsiteX9" fmla="*/ 5793594 w 9434022"/>
              <a:gd name="connsiteY9" fmla="*/ 2924472 h 4114443"/>
              <a:gd name="connsiteX10" fmla="*/ 4321786 w 9434022"/>
              <a:gd name="connsiteY10" fmla="*/ 2761634 h 4114443"/>
              <a:gd name="connsiteX11" fmla="*/ 4171474 w 9434022"/>
              <a:gd name="connsiteY11" fmla="*/ 2893157 h 4114443"/>
              <a:gd name="connsiteX12" fmla="*/ 4465835 w 9434022"/>
              <a:gd name="connsiteY12" fmla="*/ 2949524 h 4114443"/>
              <a:gd name="connsiteX13" fmla="*/ 3933479 w 9434022"/>
              <a:gd name="connsiteY13" fmla="*/ 2661426 h 4114443"/>
              <a:gd name="connsiteX0" fmla="*/ 0 w 9436146"/>
              <a:gd name="connsiteY0" fmla="*/ 4114443 h 4114443"/>
              <a:gd name="connsiteX1" fmla="*/ 2655824 w 9436146"/>
              <a:gd name="connsiteY1" fmla="*/ 3688560 h 4114443"/>
              <a:gd name="connsiteX2" fmla="*/ 4321786 w 9436146"/>
              <a:gd name="connsiteY2" fmla="*/ 2724056 h 4114443"/>
              <a:gd name="connsiteX3" fmla="*/ 5530548 w 9436146"/>
              <a:gd name="connsiteY3" fmla="*/ 582105 h 4114443"/>
              <a:gd name="connsiteX4" fmla="*/ 8085348 w 9436146"/>
              <a:gd name="connsiteY4" fmla="*/ 86176 h 4114443"/>
              <a:gd name="connsiteX5" fmla="*/ 9401090 w 9436146"/>
              <a:gd name="connsiteY5" fmla="*/ 1740763 h 4114443"/>
              <a:gd name="connsiteX6" fmla="*/ 7183983 w 9436146"/>
              <a:gd name="connsiteY6" fmla="*/ 3055996 h 4114443"/>
              <a:gd name="connsiteX7" fmla="*/ 6319687 w 9436146"/>
              <a:gd name="connsiteY7" fmla="*/ 2993365 h 4114443"/>
              <a:gd name="connsiteX8" fmla="*/ 5793594 w 9436146"/>
              <a:gd name="connsiteY8" fmla="*/ 2924472 h 4114443"/>
              <a:gd name="connsiteX9" fmla="*/ 4321786 w 9436146"/>
              <a:gd name="connsiteY9" fmla="*/ 2761634 h 4114443"/>
              <a:gd name="connsiteX10" fmla="*/ 4171474 w 9436146"/>
              <a:gd name="connsiteY10" fmla="*/ 2893157 h 4114443"/>
              <a:gd name="connsiteX11" fmla="*/ 4465835 w 9436146"/>
              <a:gd name="connsiteY11" fmla="*/ 2949524 h 4114443"/>
              <a:gd name="connsiteX12" fmla="*/ 3933479 w 9436146"/>
              <a:gd name="connsiteY12" fmla="*/ 2661426 h 4114443"/>
              <a:gd name="connsiteX0" fmla="*/ 0 w 9487927"/>
              <a:gd name="connsiteY0" fmla="*/ 4114443 h 4114443"/>
              <a:gd name="connsiteX1" fmla="*/ 2655824 w 9487927"/>
              <a:gd name="connsiteY1" fmla="*/ 3688560 h 4114443"/>
              <a:gd name="connsiteX2" fmla="*/ 4321786 w 9487927"/>
              <a:gd name="connsiteY2" fmla="*/ 2724056 h 4114443"/>
              <a:gd name="connsiteX3" fmla="*/ 5530548 w 9487927"/>
              <a:gd name="connsiteY3" fmla="*/ 582105 h 4114443"/>
              <a:gd name="connsiteX4" fmla="*/ 8085348 w 9487927"/>
              <a:gd name="connsiteY4" fmla="*/ 86176 h 4114443"/>
              <a:gd name="connsiteX5" fmla="*/ 9401090 w 9487927"/>
              <a:gd name="connsiteY5" fmla="*/ 1740763 h 4114443"/>
              <a:gd name="connsiteX6" fmla="*/ 6319687 w 9487927"/>
              <a:gd name="connsiteY6" fmla="*/ 2993365 h 4114443"/>
              <a:gd name="connsiteX7" fmla="*/ 5793594 w 9487927"/>
              <a:gd name="connsiteY7" fmla="*/ 2924472 h 4114443"/>
              <a:gd name="connsiteX8" fmla="*/ 4321786 w 9487927"/>
              <a:gd name="connsiteY8" fmla="*/ 2761634 h 4114443"/>
              <a:gd name="connsiteX9" fmla="*/ 4171474 w 9487927"/>
              <a:gd name="connsiteY9" fmla="*/ 2893157 h 4114443"/>
              <a:gd name="connsiteX10" fmla="*/ 4465835 w 9487927"/>
              <a:gd name="connsiteY10" fmla="*/ 2949524 h 4114443"/>
              <a:gd name="connsiteX11" fmla="*/ 3933479 w 9487927"/>
              <a:gd name="connsiteY11" fmla="*/ 2661426 h 4114443"/>
              <a:gd name="connsiteX0" fmla="*/ 0 w 9522079"/>
              <a:gd name="connsiteY0" fmla="*/ 4114443 h 4114443"/>
              <a:gd name="connsiteX1" fmla="*/ 2655824 w 9522079"/>
              <a:gd name="connsiteY1" fmla="*/ 3688560 h 4114443"/>
              <a:gd name="connsiteX2" fmla="*/ 4321786 w 9522079"/>
              <a:gd name="connsiteY2" fmla="*/ 2724056 h 4114443"/>
              <a:gd name="connsiteX3" fmla="*/ 5530548 w 9522079"/>
              <a:gd name="connsiteY3" fmla="*/ 582105 h 4114443"/>
              <a:gd name="connsiteX4" fmla="*/ 8085348 w 9522079"/>
              <a:gd name="connsiteY4" fmla="*/ 86176 h 4114443"/>
              <a:gd name="connsiteX5" fmla="*/ 9401090 w 9522079"/>
              <a:gd name="connsiteY5" fmla="*/ 1740763 h 4114443"/>
              <a:gd name="connsiteX6" fmla="*/ 5793594 w 9522079"/>
              <a:gd name="connsiteY6" fmla="*/ 2924472 h 4114443"/>
              <a:gd name="connsiteX7" fmla="*/ 4321786 w 9522079"/>
              <a:gd name="connsiteY7" fmla="*/ 2761634 h 4114443"/>
              <a:gd name="connsiteX8" fmla="*/ 4171474 w 9522079"/>
              <a:gd name="connsiteY8" fmla="*/ 2893157 h 4114443"/>
              <a:gd name="connsiteX9" fmla="*/ 4465835 w 9522079"/>
              <a:gd name="connsiteY9" fmla="*/ 2949524 h 4114443"/>
              <a:gd name="connsiteX10" fmla="*/ 3933479 w 9522079"/>
              <a:gd name="connsiteY10" fmla="*/ 2661426 h 4114443"/>
              <a:gd name="connsiteX0" fmla="*/ 0 w 9479057"/>
              <a:gd name="connsiteY0" fmla="*/ 4043405 h 4043405"/>
              <a:gd name="connsiteX1" fmla="*/ 2655824 w 9479057"/>
              <a:gd name="connsiteY1" fmla="*/ 3617522 h 4043405"/>
              <a:gd name="connsiteX2" fmla="*/ 4321786 w 9479057"/>
              <a:gd name="connsiteY2" fmla="*/ 2653018 h 4043405"/>
              <a:gd name="connsiteX3" fmla="*/ 5905675 w 9479057"/>
              <a:gd name="connsiteY3" fmla="*/ 951395 h 4043405"/>
              <a:gd name="connsiteX4" fmla="*/ 8085348 w 9479057"/>
              <a:gd name="connsiteY4" fmla="*/ 15138 h 4043405"/>
              <a:gd name="connsiteX5" fmla="*/ 9401090 w 9479057"/>
              <a:gd name="connsiteY5" fmla="*/ 1669725 h 4043405"/>
              <a:gd name="connsiteX6" fmla="*/ 5793594 w 9479057"/>
              <a:gd name="connsiteY6" fmla="*/ 2853434 h 4043405"/>
              <a:gd name="connsiteX7" fmla="*/ 4321786 w 9479057"/>
              <a:gd name="connsiteY7" fmla="*/ 2690596 h 4043405"/>
              <a:gd name="connsiteX8" fmla="*/ 4171474 w 9479057"/>
              <a:gd name="connsiteY8" fmla="*/ 2822119 h 4043405"/>
              <a:gd name="connsiteX9" fmla="*/ 4465835 w 9479057"/>
              <a:gd name="connsiteY9" fmla="*/ 2878486 h 4043405"/>
              <a:gd name="connsiteX10" fmla="*/ 3933479 w 9479057"/>
              <a:gd name="connsiteY10" fmla="*/ 2590388 h 4043405"/>
              <a:gd name="connsiteX0" fmla="*/ 0 w 9603591"/>
              <a:gd name="connsiteY0" fmla="*/ 4028628 h 4028628"/>
              <a:gd name="connsiteX1" fmla="*/ 2655824 w 9603591"/>
              <a:gd name="connsiteY1" fmla="*/ 3602745 h 4028628"/>
              <a:gd name="connsiteX2" fmla="*/ 4321786 w 9603591"/>
              <a:gd name="connsiteY2" fmla="*/ 2638241 h 4028628"/>
              <a:gd name="connsiteX3" fmla="*/ 5905675 w 9603591"/>
              <a:gd name="connsiteY3" fmla="*/ 936618 h 4028628"/>
              <a:gd name="connsiteX4" fmla="*/ 8085348 w 9603591"/>
              <a:gd name="connsiteY4" fmla="*/ 361 h 4028628"/>
              <a:gd name="connsiteX5" fmla="*/ 9401090 w 9603591"/>
              <a:gd name="connsiteY5" fmla="*/ 1654948 h 4028628"/>
              <a:gd name="connsiteX6" fmla="*/ 5793594 w 9603591"/>
              <a:gd name="connsiteY6" fmla="*/ 2838657 h 4028628"/>
              <a:gd name="connsiteX7" fmla="*/ 4321786 w 9603591"/>
              <a:gd name="connsiteY7" fmla="*/ 2675819 h 4028628"/>
              <a:gd name="connsiteX8" fmla="*/ 4171474 w 9603591"/>
              <a:gd name="connsiteY8" fmla="*/ 2807342 h 4028628"/>
              <a:gd name="connsiteX9" fmla="*/ 4465835 w 9603591"/>
              <a:gd name="connsiteY9" fmla="*/ 2863709 h 4028628"/>
              <a:gd name="connsiteX10" fmla="*/ 3933479 w 9603591"/>
              <a:gd name="connsiteY10" fmla="*/ 2575611 h 4028628"/>
              <a:gd name="connsiteX0" fmla="*/ 0 w 9602407"/>
              <a:gd name="connsiteY0" fmla="*/ 4039392 h 4039392"/>
              <a:gd name="connsiteX1" fmla="*/ 2655824 w 9602407"/>
              <a:gd name="connsiteY1" fmla="*/ 3613509 h 4039392"/>
              <a:gd name="connsiteX2" fmla="*/ 4321786 w 9602407"/>
              <a:gd name="connsiteY2" fmla="*/ 2649005 h 4039392"/>
              <a:gd name="connsiteX3" fmla="*/ 5905675 w 9602407"/>
              <a:gd name="connsiteY3" fmla="*/ 947382 h 4039392"/>
              <a:gd name="connsiteX4" fmla="*/ 8085348 w 9602407"/>
              <a:gd name="connsiteY4" fmla="*/ 11125 h 4039392"/>
              <a:gd name="connsiteX5" fmla="*/ 9401090 w 9602407"/>
              <a:gd name="connsiteY5" fmla="*/ 1665712 h 4039392"/>
              <a:gd name="connsiteX6" fmla="*/ 5793594 w 9602407"/>
              <a:gd name="connsiteY6" fmla="*/ 2849421 h 4039392"/>
              <a:gd name="connsiteX7" fmla="*/ 4321786 w 9602407"/>
              <a:gd name="connsiteY7" fmla="*/ 2686583 h 4039392"/>
              <a:gd name="connsiteX8" fmla="*/ 4171474 w 9602407"/>
              <a:gd name="connsiteY8" fmla="*/ 2818106 h 4039392"/>
              <a:gd name="connsiteX9" fmla="*/ 4465835 w 9602407"/>
              <a:gd name="connsiteY9" fmla="*/ 2874473 h 4039392"/>
              <a:gd name="connsiteX10" fmla="*/ 3933479 w 9602407"/>
              <a:gd name="connsiteY10" fmla="*/ 2586375 h 4039392"/>
              <a:gd name="connsiteX0" fmla="*/ 0 w 9656300"/>
              <a:gd name="connsiteY0" fmla="*/ 4038473 h 4038473"/>
              <a:gd name="connsiteX1" fmla="*/ 2655824 w 9656300"/>
              <a:gd name="connsiteY1" fmla="*/ 3612590 h 4038473"/>
              <a:gd name="connsiteX2" fmla="*/ 4321786 w 9656300"/>
              <a:gd name="connsiteY2" fmla="*/ 2648086 h 4038473"/>
              <a:gd name="connsiteX3" fmla="*/ 5905675 w 9656300"/>
              <a:gd name="connsiteY3" fmla="*/ 946463 h 4038473"/>
              <a:gd name="connsiteX4" fmla="*/ 8085348 w 9656300"/>
              <a:gd name="connsiteY4" fmla="*/ 10206 h 4038473"/>
              <a:gd name="connsiteX5" fmla="*/ 9401090 w 9656300"/>
              <a:gd name="connsiteY5" fmla="*/ 1664793 h 4038473"/>
              <a:gd name="connsiteX6" fmla="*/ 5793594 w 9656300"/>
              <a:gd name="connsiteY6" fmla="*/ 2848502 h 4038473"/>
              <a:gd name="connsiteX7" fmla="*/ 4321786 w 9656300"/>
              <a:gd name="connsiteY7" fmla="*/ 2685664 h 4038473"/>
              <a:gd name="connsiteX8" fmla="*/ 4171474 w 9656300"/>
              <a:gd name="connsiteY8" fmla="*/ 2817187 h 4038473"/>
              <a:gd name="connsiteX9" fmla="*/ 4465835 w 9656300"/>
              <a:gd name="connsiteY9" fmla="*/ 2873554 h 4038473"/>
              <a:gd name="connsiteX10" fmla="*/ 3933479 w 9656300"/>
              <a:gd name="connsiteY10" fmla="*/ 2585456 h 4038473"/>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86218"/>
              <a:gd name="connsiteY0" fmla="*/ 4038961 h 4038961"/>
              <a:gd name="connsiteX1" fmla="*/ 2655824 w 9586218"/>
              <a:gd name="connsiteY1" fmla="*/ 3613078 h 4038961"/>
              <a:gd name="connsiteX2" fmla="*/ 4321786 w 9586218"/>
              <a:gd name="connsiteY2" fmla="*/ 2648574 h 4038961"/>
              <a:gd name="connsiteX3" fmla="*/ 5905675 w 9586218"/>
              <a:gd name="connsiteY3" fmla="*/ 946951 h 4038961"/>
              <a:gd name="connsiteX4" fmla="*/ 8085348 w 9586218"/>
              <a:gd name="connsiteY4" fmla="*/ 10694 h 4038961"/>
              <a:gd name="connsiteX5" fmla="*/ 9401090 w 9586218"/>
              <a:gd name="connsiteY5" fmla="*/ 1665281 h 4038961"/>
              <a:gd name="connsiteX6" fmla="*/ 6365664 w 9586218"/>
              <a:gd name="connsiteY6" fmla="*/ 2749294 h 4038961"/>
              <a:gd name="connsiteX7" fmla="*/ 4321786 w 9586218"/>
              <a:gd name="connsiteY7" fmla="*/ 2686152 h 4038961"/>
              <a:gd name="connsiteX8" fmla="*/ 4171474 w 9586218"/>
              <a:gd name="connsiteY8" fmla="*/ 2817675 h 4038961"/>
              <a:gd name="connsiteX9" fmla="*/ 4465835 w 9586218"/>
              <a:gd name="connsiteY9" fmla="*/ 2874042 h 4038961"/>
              <a:gd name="connsiteX10" fmla="*/ 3933479 w 9586218"/>
              <a:gd name="connsiteY10" fmla="*/ 2585944 h 4038961"/>
              <a:gd name="connsiteX0" fmla="*/ 0 w 9669443"/>
              <a:gd name="connsiteY0" fmla="*/ 4041204 h 4041204"/>
              <a:gd name="connsiteX1" fmla="*/ 2655824 w 9669443"/>
              <a:gd name="connsiteY1" fmla="*/ 3615321 h 4041204"/>
              <a:gd name="connsiteX2" fmla="*/ 4321786 w 9669443"/>
              <a:gd name="connsiteY2" fmla="*/ 2650817 h 4041204"/>
              <a:gd name="connsiteX3" fmla="*/ 5905675 w 9669443"/>
              <a:gd name="connsiteY3" fmla="*/ 949194 h 4041204"/>
              <a:gd name="connsiteX4" fmla="*/ 8085348 w 9669443"/>
              <a:gd name="connsiteY4" fmla="*/ 12937 h 4041204"/>
              <a:gd name="connsiteX5" fmla="*/ 9401090 w 9669443"/>
              <a:gd name="connsiteY5" fmla="*/ 1667524 h 4041204"/>
              <a:gd name="connsiteX6" fmla="*/ 6365664 w 9669443"/>
              <a:gd name="connsiteY6" fmla="*/ 2751537 h 4041204"/>
              <a:gd name="connsiteX7" fmla="*/ 4321786 w 9669443"/>
              <a:gd name="connsiteY7" fmla="*/ 2688395 h 4041204"/>
              <a:gd name="connsiteX8" fmla="*/ 4171474 w 9669443"/>
              <a:gd name="connsiteY8" fmla="*/ 2819918 h 4041204"/>
              <a:gd name="connsiteX9" fmla="*/ 4465835 w 9669443"/>
              <a:gd name="connsiteY9" fmla="*/ 2876285 h 4041204"/>
              <a:gd name="connsiteX10" fmla="*/ 3933479 w 9669443"/>
              <a:gd name="connsiteY10" fmla="*/ 2588187 h 4041204"/>
              <a:gd name="connsiteX0" fmla="*/ 0 w 12729702"/>
              <a:gd name="connsiteY0" fmla="*/ 3843401 h 3843402"/>
              <a:gd name="connsiteX1" fmla="*/ 5716083 w 12729702"/>
              <a:gd name="connsiteY1" fmla="*/ 3615321 h 3843402"/>
              <a:gd name="connsiteX2" fmla="*/ 7382045 w 12729702"/>
              <a:gd name="connsiteY2" fmla="*/ 2650817 h 3843402"/>
              <a:gd name="connsiteX3" fmla="*/ 8965934 w 12729702"/>
              <a:gd name="connsiteY3" fmla="*/ 949194 h 3843402"/>
              <a:gd name="connsiteX4" fmla="*/ 11145607 w 12729702"/>
              <a:gd name="connsiteY4" fmla="*/ 12937 h 3843402"/>
              <a:gd name="connsiteX5" fmla="*/ 12461349 w 12729702"/>
              <a:gd name="connsiteY5" fmla="*/ 1667524 h 3843402"/>
              <a:gd name="connsiteX6" fmla="*/ 9425923 w 12729702"/>
              <a:gd name="connsiteY6" fmla="*/ 2751537 h 3843402"/>
              <a:gd name="connsiteX7" fmla="*/ 7382045 w 12729702"/>
              <a:gd name="connsiteY7" fmla="*/ 2688395 h 3843402"/>
              <a:gd name="connsiteX8" fmla="*/ 7231733 w 12729702"/>
              <a:gd name="connsiteY8" fmla="*/ 2819918 h 3843402"/>
              <a:gd name="connsiteX9" fmla="*/ 7526094 w 12729702"/>
              <a:gd name="connsiteY9" fmla="*/ 2876285 h 3843402"/>
              <a:gd name="connsiteX10" fmla="*/ 6993738 w 12729702"/>
              <a:gd name="connsiteY10" fmla="*/ 2588187 h 3843402"/>
              <a:gd name="connsiteX0" fmla="*/ 0 w 12729702"/>
              <a:gd name="connsiteY0" fmla="*/ 3843401 h 3849782"/>
              <a:gd name="connsiteX1" fmla="*/ 4359299 w 12729702"/>
              <a:gd name="connsiteY1" fmla="*/ 3721480 h 3849782"/>
              <a:gd name="connsiteX2" fmla="*/ 7382045 w 12729702"/>
              <a:gd name="connsiteY2" fmla="*/ 2650817 h 3849782"/>
              <a:gd name="connsiteX3" fmla="*/ 8965934 w 12729702"/>
              <a:gd name="connsiteY3" fmla="*/ 949194 h 3849782"/>
              <a:gd name="connsiteX4" fmla="*/ 11145607 w 12729702"/>
              <a:gd name="connsiteY4" fmla="*/ 12937 h 3849782"/>
              <a:gd name="connsiteX5" fmla="*/ 12461349 w 12729702"/>
              <a:gd name="connsiteY5" fmla="*/ 1667524 h 3849782"/>
              <a:gd name="connsiteX6" fmla="*/ 9425923 w 12729702"/>
              <a:gd name="connsiteY6" fmla="*/ 2751537 h 3849782"/>
              <a:gd name="connsiteX7" fmla="*/ 7382045 w 12729702"/>
              <a:gd name="connsiteY7" fmla="*/ 2688395 h 3849782"/>
              <a:gd name="connsiteX8" fmla="*/ 7231733 w 12729702"/>
              <a:gd name="connsiteY8" fmla="*/ 2819918 h 3849782"/>
              <a:gd name="connsiteX9" fmla="*/ 7526094 w 12729702"/>
              <a:gd name="connsiteY9" fmla="*/ 2876285 h 3849782"/>
              <a:gd name="connsiteX10" fmla="*/ 6993738 w 12729702"/>
              <a:gd name="connsiteY10" fmla="*/ 2588187 h 3849782"/>
              <a:gd name="connsiteX0" fmla="*/ 0 w 12729702"/>
              <a:gd name="connsiteY0" fmla="*/ 3843401 h 3843402"/>
              <a:gd name="connsiteX1" fmla="*/ 4359299 w 12729702"/>
              <a:gd name="connsiteY1" fmla="*/ 3721480 h 3843402"/>
              <a:gd name="connsiteX2" fmla="*/ 7382045 w 12729702"/>
              <a:gd name="connsiteY2" fmla="*/ 2650817 h 3843402"/>
              <a:gd name="connsiteX3" fmla="*/ 8965934 w 12729702"/>
              <a:gd name="connsiteY3" fmla="*/ 949194 h 3843402"/>
              <a:gd name="connsiteX4" fmla="*/ 11145607 w 12729702"/>
              <a:gd name="connsiteY4" fmla="*/ 12937 h 3843402"/>
              <a:gd name="connsiteX5" fmla="*/ 12461349 w 12729702"/>
              <a:gd name="connsiteY5" fmla="*/ 1667524 h 3843402"/>
              <a:gd name="connsiteX6" fmla="*/ 9425923 w 12729702"/>
              <a:gd name="connsiteY6" fmla="*/ 2751537 h 3843402"/>
              <a:gd name="connsiteX7" fmla="*/ 7382045 w 12729702"/>
              <a:gd name="connsiteY7" fmla="*/ 2688395 h 3843402"/>
              <a:gd name="connsiteX8" fmla="*/ 7231733 w 12729702"/>
              <a:gd name="connsiteY8" fmla="*/ 2819918 h 3843402"/>
              <a:gd name="connsiteX9" fmla="*/ 7526094 w 12729702"/>
              <a:gd name="connsiteY9" fmla="*/ 2876285 h 3843402"/>
              <a:gd name="connsiteX10" fmla="*/ 6993738 w 12729702"/>
              <a:gd name="connsiteY10" fmla="*/ 2588187 h 3843402"/>
              <a:gd name="connsiteX0" fmla="*/ 0 w 12729702"/>
              <a:gd name="connsiteY0" fmla="*/ 3843401 h 3843400"/>
              <a:gd name="connsiteX1" fmla="*/ 4359299 w 12729702"/>
              <a:gd name="connsiteY1" fmla="*/ 3721480 h 3843400"/>
              <a:gd name="connsiteX2" fmla="*/ 7382045 w 12729702"/>
              <a:gd name="connsiteY2" fmla="*/ 2650817 h 3843400"/>
              <a:gd name="connsiteX3" fmla="*/ 8965934 w 12729702"/>
              <a:gd name="connsiteY3" fmla="*/ 949194 h 3843400"/>
              <a:gd name="connsiteX4" fmla="*/ 11145607 w 12729702"/>
              <a:gd name="connsiteY4" fmla="*/ 12937 h 3843400"/>
              <a:gd name="connsiteX5" fmla="*/ 12461349 w 12729702"/>
              <a:gd name="connsiteY5" fmla="*/ 1667524 h 3843400"/>
              <a:gd name="connsiteX6" fmla="*/ 9425923 w 12729702"/>
              <a:gd name="connsiteY6" fmla="*/ 2751537 h 3843400"/>
              <a:gd name="connsiteX7" fmla="*/ 7382045 w 12729702"/>
              <a:gd name="connsiteY7" fmla="*/ 2688395 h 3843400"/>
              <a:gd name="connsiteX8" fmla="*/ 7231733 w 12729702"/>
              <a:gd name="connsiteY8" fmla="*/ 2819918 h 3843400"/>
              <a:gd name="connsiteX9" fmla="*/ 7526094 w 12729702"/>
              <a:gd name="connsiteY9" fmla="*/ 2876285 h 3843400"/>
              <a:gd name="connsiteX10" fmla="*/ 6993738 w 12729702"/>
              <a:gd name="connsiteY10" fmla="*/ 2588187 h 3843400"/>
              <a:gd name="connsiteX0" fmla="*/ 0 w 12729702"/>
              <a:gd name="connsiteY0" fmla="*/ 3843401 h 3968746"/>
              <a:gd name="connsiteX1" fmla="*/ 4316510 w 12729702"/>
              <a:gd name="connsiteY1" fmla="*/ 3964476 h 3968746"/>
              <a:gd name="connsiteX2" fmla="*/ 7382045 w 12729702"/>
              <a:gd name="connsiteY2" fmla="*/ 2650817 h 3968746"/>
              <a:gd name="connsiteX3" fmla="*/ 8965934 w 12729702"/>
              <a:gd name="connsiteY3" fmla="*/ 949194 h 3968746"/>
              <a:gd name="connsiteX4" fmla="*/ 11145607 w 12729702"/>
              <a:gd name="connsiteY4" fmla="*/ 12937 h 3968746"/>
              <a:gd name="connsiteX5" fmla="*/ 12461349 w 12729702"/>
              <a:gd name="connsiteY5" fmla="*/ 1667524 h 3968746"/>
              <a:gd name="connsiteX6" fmla="*/ 9425923 w 12729702"/>
              <a:gd name="connsiteY6" fmla="*/ 2751537 h 3968746"/>
              <a:gd name="connsiteX7" fmla="*/ 7382045 w 12729702"/>
              <a:gd name="connsiteY7" fmla="*/ 2688395 h 3968746"/>
              <a:gd name="connsiteX8" fmla="*/ 7231733 w 12729702"/>
              <a:gd name="connsiteY8" fmla="*/ 2819918 h 3968746"/>
              <a:gd name="connsiteX9" fmla="*/ 7526094 w 12729702"/>
              <a:gd name="connsiteY9" fmla="*/ 2876285 h 3968746"/>
              <a:gd name="connsiteX10" fmla="*/ 6993738 w 12729702"/>
              <a:gd name="connsiteY10" fmla="*/ 2588187 h 3968746"/>
              <a:gd name="connsiteX0" fmla="*/ 0 w 12729702"/>
              <a:gd name="connsiteY0" fmla="*/ 3843401 h 3843401"/>
              <a:gd name="connsiteX1" fmla="*/ 4134034 w 12729702"/>
              <a:gd name="connsiteY1" fmla="*/ 3735521 h 3843401"/>
              <a:gd name="connsiteX2" fmla="*/ 7382045 w 12729702"/>
              <a:gd name="connsiteY2" fmla="*/ 2650817 h 3843401"/>
              <a:gd name="connsiteX3" fmla="*/ 8965934 w 12729702"/>
              <a:gd name="connsiteY3" fmla="*/ 949194 h 3843401"/>
              <a:gd name="connsiteX4" fmla="*/ 11145607 w 12729702"/>
              <a:gd name="connsiteY4" fmla="*/ 12937 h 3843401"/>
              <a:gd name="connsiteX5" fmla="*/ 12461349 w 12729702"/>
              <a:gd name="connsiteY5" fmla="*/ 1667524 h 3843401"/>
              <a:gd name="connsiteX6" fmla="*/ 9425923 w 12729702"/>
              <a:gd name="connsiteY6" fmla="*/ 2751537 h 3843401"/>
              <a:gd name="connsiteX7" fmla="*/ 7382045 w 12729702"/>
              <a:gd name="connsiteY7" fmla="*/ 2688395 h 3843401"/>
              <a:gd name="connsiteX8" fmla="*/ 7231733 w 12729702"/>
              <a:gd name="connsiteY8" fmla="*/ 2819918 h 3843401"/>
              <a:gd name="connsiteX9" fmla="*/ 7526094 w 12729702"/>
              <a:gd name="connsiteY9" fmla="*/ 2876285 h 3843401"/>
              <a:gd name="connsiteX10" fmla="*/ 6993738 w 12729702"/>
              <a:gd name="connsiteY10" fmla="*/ 2588187 h 3843401"/>
              <a:gd name="connsiteX0" fmla="*/ 0 w 12729702"/>
              <a:gd name="connsiteY0" fmla="*/ 3843401 h 3861962"/>
              <a:gd name="connsiteX1" fmla="*/ 4134034 w 12729702"/>
              <a:gd name="connsiteY1" fmla="*/ 3735521 h 3861962"/>
              <a:gd name="connsiteX2" fmla="*/ 7382045 w 12729702"/>
              <a:gd name="connsiteY2" fmla="*/ 2650817 h 3861962"/>
              <a:gd name="connsiteX3" fmla="*/ 8965934 w 12729702"/>
              <a:gd name="connsiteY3" fmla="*/ 949194 h 3861962"/>
              <a:gd name="connsiteX4" fmla="*/ 11145607 w 12729702"/>
              <a:gd name="connsiteY4" fmla="*/ 12937 h 3861962"/>
              <a:gd name="connsiteX5" fmla="*/ 12461349 w 12729702"/>
              <a:gd name="connsiteY5" fmla="*/ 1667524 h 3861962"/>
              <a:gd name="connsiteX6" fmla="*/ 9425923 w 12729702"/>
              <a:gd name="connsiteY6" fmla="*/ 2751537 h 3861962"/>
              <a:gd name="connsiteX7" fmla="*/ 7382045 w 12729702"/>
              <a:gd name="connsiteY7" fmla="*/ 2688395 h 3861962"/>
              <a:gd name="connsiteX8" fmla="*/ 7231733 w 12729702"/>
              <a:gd name="connsiteY8" fmla="*/ 2819918 h 3861962"/>
              <a:gd name="connsiteX9" fmla="*/ 7526094 w 12729702"/>
              <a:gd name="connsiteY9" fmla="*/ 2876285 h 3861962"/>
              <a:gd name="connsiteX10" fmla="*/ 6993738 w 12729702"/>
              <a:gd name="connsiteY10" fmla="*/ 2588187 h 3861962"/>
              <a:gd name="connsiteX0" fmla="*/ 0 w 18392182"/>
              <a:gd name="connsiteY0" fmla="*/ 3013416 h 3738770"/>
              <a:gd name="connsiteX1" fmla="*/ 9796514 w 18392182"/>
              <a:gd name="connsiteY1" fmla="*/ 3735521 h 3738770"/>
              <a:gd name="connsiteX2" fmla="*/ 13044525 w 18392182"/>
              <a:gd name="connsiteY2" fmla="*/ 2650817 h 3738770"/>
              <a:gd name="connsiteX3" fmla="*/ 14628414 w 18392182"/>
              <a:gd name="connsiteY3" fmla="*/ 949194 h 3738770"/>
              <a:gd name="connsiteX4" fmla="*/ 16808087 w 18392182"/>
              <a:gd name="connsiteY4" fmla="*/ 12937 h 3738770"/>
              <a:gd name="connsiteX5" fmla="*/ 18123829 w 18392182"/>
              <a:gd name="connsiteY5" fmla="*/ 1667524 h 3738770"/>
              <a:gd name="connsiteX6" fmla="*/ 15088403 w 18392182"/>
              <a:gd name="connsiteY6" fmla="*/ 2751537 h 3738770"/>
              <a:gd name="connsiteX7" fmla="*/ 13044525 w 18392182"/>
              <a:gd name="connsiteY7" fmla="*/ 2688395 h 3738770"/>
              <a:gd name="connsiteX8" fmla="*/ 12894213 w 18392182"/>
              <a:gd name="connsiteY8" fmla="*/ 2819918 h 3738770"/>
              <a:gd name="connsiteX9" fmla="*/ 13188574 w 18392182"/>
              <a:gd name="connsiteY9" fmla="*/ 2876285 h 3738770"/>
              <a:gd name="connsiteX10" fmla="*/ 12656218 w 18392182"/>
              <a:gd name="connsiteY10" fmla="*/ 2588187 h 3738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92182" h="3738770">
                <a:moveTo>
                  <a:pt x="0" y="3013416"/>
                </a:moveTo>
                <a:cubicBezTo>
                  <a:pt x="1322923" y="2993306"/>
                  <a:pt x="7622427" y="3795954"/>
                  <a:pt x="9796514" y="3735521"/>
                </a:cubicBezTo>
                <a:cubicBezTo>
                  <a:pt x="11970601" y="3675088"/>
                  <a:pt x="12239208" y="3115205"/>
                  <a:pt x="13044525" y="2650817"/>
                </a:cubicBezTo>
                <a:cubicBezTo>
                  <a:pt x="13849842" y="2186429"/>
                  <a:pt x="14001154" y="1388841"/>
                  <a:pt x="14628414" y="949194"/>
                </a:cubicBezTo>
                <a:cubicBezTo>
                  <a:pt x="15255674" y="509547"/>
                  <a:pt x="15941588" y="88417"/>
                  <a:pt x="16808087" y="12937"/>
                </a:cubicBezTo>
                <a:cubicBezTo>
                  <a:pt x="18482165" y="-132891"/>
                  <a:pt x="18656855" y="987981"/>
                  <a:pt x="18123829" y="1667524"/>
                </a:cubicBezTo>
                <a:cubicBezTo>
                  <a:pt x="17703380" y="2203546"/>
                  <a:pt x="15944332" y="2706013"/>
                  <a:pt x="15088403" y="2751537"/>
                </a:cubicBezTo>
                <a:cubicBezTo>
                  <a:pt x="14226142" y="2797398"/>
                  <a:pt x="13410223" y="2676998"/>
                  <a:pt x="13044525" y="2688395"/>
                </a:cubicBezTo>
                <a:cubicBezTo>
                  <a:pt x="12678827" y="2699792"/>
                  <a:pt x="12870205" y="2788603"/>
                  <a:pt x="12894213" y="2819918"/>
                </a:cubicBezTo>
                <a:cubicBezTo>
                  <a:pt x="12918221" y="2851233"/>
                  <a:pt x="13174862" y="2929923"/>
                  <a:pt x="13188574" y="2876285"/>
                </a:cubicBezTo>
                <a:cubicBezTo>
                  <a:pt x="13224064" y="2737455"/>
                  <a:pt x="12800267" y="2406559"/>
                  <a:pt x="12656218" y="2588187"/>
                </a:cubicBezTo>
              </a:path>
            </a:pathLst>
          </a:cu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Freihandform 8"/>
          <p:cNvSpPr/>
          <p:nvPr/>
        </p:nvSpPr>
        <p:spPr>
          <a:xfrm rot="20983708">
            <a:off x="836988" y="3009228"/>
            <a:ext cx="5513949" cy="2187471"/>
          </a:xfrm>
          <a:custGeom>
            <a:avLst/>
            <a:gdLst>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2992 w 7780257"/>
              <a:gd name="connsiteY37" fmla="*/ 2855934 h 3757808"/>
              <a:gd name="connsiteX38" fmla="*/ 2649255 w 7780257"/>
              <a:gd name="connsiteY38" fmla="*/ 2968668 h 3757808"/>
              <a:gd name="connsiteX39" fmla="*/ 2743200 w 7780257"/>
              <a:gd name="connsiteY39" fmla="*/ 2931090 h 3757808"/>
              <a:gd name="connsiteX40" fmla="*/ 2686833 w 7780257"/>
              <a:gd name="connsiteY40" fmla="*/ 2824619 h 3757808"/>
              <a:gd name="connsiteX41" fmla="*/ 2636729 w 7780257"/>
              <a:gd name="connsiteY41" fmla="*/ 2812093 h 3757808"/>
              <a:gd name="connsiteX42" fmla="*/ 2542784 w 7780257"/>
              <a:gd name="connsiteY42" fmla="*/ 2855934 h 3757808"/>
              <a:gd name="connsiteX43" fmla="*/ 2730674 w 7780257"/>
              <a:gd name="connsiteY43" fmla="*/ 2874723 h 3757808"/>
              <a:gd name="connsiteX44" fmla="*/ 2780778 w 7780257"/>
              <a:gd name="connsiteY44" fmla="*/ 2887249 h 3757808"/>
              <a:gd name="connsiteX45" fmla="*/ 2874723 w 7780257"/>
              <a:gd name="connsiteY45" fmla="*/ 2937353 h 3757808"/>
              <a:gd name="connsiteX46" fmla="*/ 2931090 w 7780257"/>
              <a:gd name="connsiteY46" fmla="*/ 3018772 h 3757808"/>
              <a:gd name="connsiteX47" fmla="*/ 2931090 w 7780257"/>
              <a:gd name="connsiteY47"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86833 w 7780257"/>
              <a:gd name="connsiteY39" fmla="*/ 2824619 h 3757808"/>
              <a:gd name="connsiteX40" fmla="*/ 2636729 w 7780257"/>
              <a:gd name="connsiteY40" fmla="*/ 2812093 h 3757808"/>
              <a:gd name="connsiteX41" fmla="*/ 2542784 w 7780257"/>
              <a:gd name="connsiteY41" fmla="*/ 2855934 h 3757808"/>
              <a:gd name="connsiteX42" fmla="*/ 2730674 w 7780257"/>
              <a:gd name="connsiteY42" fmla="*/ 2874723 h 3757808"/>
              <a:gd name="connsiteX43" fmla="*/ 2780778 w 7780257"/>
              <a:gd name="connsiteY43" fmla="*/ 2887249 h 3757808"/>
              <a:gd name="connsiteX44" fmla="*/ 2874723 w 7780257"/>
              <a:gd name="connsiteY44" fmla="*/ 2937353 h 3757808"/>
              <a:gd name="connsiteX45" fmla="*/ 2931090 w 7780257"/>
              <a:gd name="connsiteY45" fmla="*/ 3018772 h 3757808"/>
              <a:gd name="connsiteX46" fmla="*/ 2931090 w 7780257"/>
              <a:gd name="connsiteY46"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36729 w 7780257"/>
              <a:gd name="connsiteY39" fmla="*/ 2812093 h 3757808"/>
              <a:gd name="connsiteX40" fmla="*/ 2542784 w 7780257"/>
              <a:gd name="connsiteY40" fmla="*/ 2855934 h 3757808"/>
              <a:gd name="connsiteX41" fmla="*/ 2730674 w 7780257"/>
              <a:gd name="connsiteY41" fmla="*/ 2874723 h 3757808"/>
              <a:gd name="connsiteX42" fmla="*/ 2780778 w 7780257"/>
              <a:gd name="connsiteY42" fmla="*/ 2887249 h 3757808"/>
              <a:gd name="connsiteX43" fmla="*/ 2874723 w 7780257"/>
              <a:gd name="connsiteY43" fmla="*/ 2937353 h 3757808"/>
              <a:gd name="connsiteX44" fmla="*/ 2931090 w 7780257"/>
              <a:gd name="connsiteY44" fmla="*/ 3018772 h 3757808"/>
              <a:gd name="connsiteX45" fmla="*/ 2931090 w 7780257"/>
              <a:gd name="connsiteY45"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743200 w 7780257"/>
              <a:gd name="connsiteY37" fmla="*/ 2931090 h 3757808"/>
              <a:gd name="connsiteX38" fmla="*/ 2636729 w 7780257"/>
              <a:gd name="connsiteY38" fmla="*/ 2812093 h 3757808"/>
              <a:gd name="connsiteX39" fmla="*/ 2542784 w 7780257"/>
              <a:gd name="connsiteY39" fmla="*/ 2855934 h 3757808"/>
              <a:gd name="connsiteX40" fmla="*/ 2730674 w 7780257"/>
              <a:gd name="connsiteY40" fmla="*/ 2874723 h 3757808"/>
              <a:gd name="connsiteX41" fmla="*/ 2780778 w 7780257"/>
              <a:gd name="connsiteY41" fmla="*/ 2887249 h 3757808"/>
              <a:gd name="connsiteX42" fmla="*/ 2874723 w 7780257"/>
              <a:gd name="connsiteY42" fmla="*/ 2937353 h 3757808"/>
              <a:gd name="connsiteX43" fmla="*/ 2931090 w 7780257"/>
              <a:gd name="connsiteY43" fmla="*/ 3018772 h 3757808"/>
              <a:gd name="connsiteX44" fmla="*/ 2931090 w 7780257"/>
              <a:gd name="connsiteY44"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36729 w 7780257"/>
              <a:gd name="connsiteY37" fmla="*/ 2812093 h 3757808"/>
              <a:gd name="connsiteX38" fmla="*/ 2542784 w 7780257"/>
              <a:gd name="connsiteY38" fmla="*/ 2855934 h 3757808"/>
              <a:gd name="connsiteX39" fmla="*/ 2730674 w 7780257"/>
              <a:gd name="connsiteY39" fmla="*/ 2874723 h 3757808"/>
              <a:gd name="connsiteX40" fmla="*/ 2780778 w 7780257"/>
              <a:gd name="connsiteY40" fmla="*/ 2887249 h 3757808"/>
              <a:gd name="connsiteX41" fmla="*/ 2874723 w 7780257"/>
              <a:gd name="connsiteY41" fmla="*/ 2937353 h 3757808"/>
              <a:gd name="connsiteX42" fmla="*/ 2931090 w 7780257"/>
              <a:gd name="connsiteY42" fmla="*/ 3018772 h 3757808"/>
              <a:gd name="connsiteX43" fmla="*/ 2931090 w 7780257"/>
              <a:gd name="connsiteY43"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542784 w 7780257"/>
              <a:gd name="connsiteY37" fmla="*/ 2855934 h 3757808"/>
              <a:gd name="connsiteX38" fmla="*/ 2730674 w 7780257"/>
              <a:gd name="connsiteY38" fmla="*/ 2874723 h 3757808"/>
              <a:gd name="connsiteX39" fmla="*/ 2780778 w 7780257"/>
              <a:gd name="connsiteY39" fmla="*/ 2887249 h 3757808"/>
              <a:gd name="connsiteX40" fmla="*/ 2874723 w 7780257"/>
              <a:gd name="connsiteY40" fmla="*/ 2937353 h 3757808"/>
              <a:gd name="connsiteX41" fmla="*/ 2931090 w 7780257"/>
              <a:gd name="connsiteY41" fmla="*/ 3018772 h 3757808"/>
              <a:gd name="connsiteX42" fmla="*/ 2931090 w 7780257"/>
              <a:gd name="connsiteY42"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492679 w 7780257"/>
              <a:gd name="connsiteY36" fmla="*/ 287472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730674 w 7780257"/>
              <a:gd name="connsiteY36" fmla="*/ 287472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937353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05205 w 7780257"/>
              <a:gd name="connsiteY35" fmla="*/ 2799567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931090 w 7780257"/>
              <a:gd name="connsiteY38"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517732 w 7780257"/>
              <a:gd name="connsiteY38"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517732 w 7780257"/>
              <a:gd name="connsiteY37"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2935373 w 10715630"/>
              <a:gd name="connsiteY0" fmla="*/ 3757808 h 3799348"/>
              <a:gd name="connsiteX1" fmla="*/ 0 w 10715630"/>
              <a:gd name="connsiteY1" fmla="*/ 3799348 h 3799348"/>
              <a:gd name="connsiteX2" fmla="*/ 3968770 w 10715630"/>
              <a:gd name="connsiteY2" fmla="*/ 3739019 h 3799348"/>
              <a:gd name="connsiteX3" fmla="*/ 4162924 w 10715630"/>
              <a:gd name="connsiteY3" fmla="*/ 3720230 h 3799348"/>
              <a:gd name="connsiteX4" fmla="*/ 4344551 w 10715630"/>
              <a:gd name="connsiteY4" fmla="*/ 3682652 h 3799348"/>
              <a:gd name="connsiteX5" fmla="*/ 4876907 w 10715630"/>
              <a:gd name="connsiteY5" fmla="*/ 3482235 h 3799348"/>
              <a:gd name="connsiteX6" fmla="*/ 5321581 w 10715630"/>
              <a:gd name="connsiteY6" fmla="*/ 3156559 h 3799348"/>
              <a:gd name="connsiteX7" fmla="*/ 5634732 w 10715630"/>
              <a:gd name="connsiteY7" fmla="*/ 2774515 h 3799348"/>
              <a:gd name="connsiteX8" fmla="*/ 5716151 w 10715630"/>
              <a:gd name="connsiteY8" fmla="*/ 2617939 h 3799348"/>
              <a:gd name="connsiteX9" fmla="*/ 5866463 w 10715630"/>
              <a:gd name="connsiteY9" fmla="*/ 2254685 h 3799348"/>
              <a:gd name="connsiteX10" fmla="*/ 5997987 w 10715630"/>
              <a:gd name="connsiteY10" fmla="*/ 1803748 h 3799348"/>
              <a:gd name="connsiteX11" fmla="*/ 6411346 w 10715630"/>
              <a:gd name="connsiteY11" fmla="*/ 1108553 h 3799348"/>
              <a:gd name="connsiteX12" fmla="*/ 6693181 w 10715630"/>
              <a:gd name="connsiteY12" fmla="*/ 770350 h 3799348"/>
              <a:gd name="connsiteX13" fmla="*/ 6843494 w 10715630"/>
              <a:gd name="connsiteY13" fmla="*/ 632564 h 3799348"/>
              <a:gd name="connsiteX14" fmla="*/ 7306957 w 10715630"/>
              <a:gd name="connsiteY14" fmla="*/ 319413 h 3799348"/>
              <a:gd name="connsiteX15" fmla="*/ 7826787 w 10715630"/>
              <a:gd name="connsiteY15" fmla="*/ 112734 h 3799348"/>
              <a:gd name="connsiteX16" fmla="*/ 8071044 w 10715630"/>
              <a:gd name="connsiteY16" fmla="*/ 43841 h 3799348"/>
              <a:gd name="connsiteX17" fmla="*/ 8534507 w 10715630"/>
              <a:gd name="connsiteY17" fmla="*/ 0 h 3799348"/>
              <a:gd name="connsiteX18" fmla="*/ 9142020 w 10715630"/>
              <a:gd name="connsiteY18" fmla="*/ 31315 h 3799348"/>
              <a:gd name="connsiteX19" fmla="*/ 9386277 w 10715630"/>
              <a:gd name="connsiteY19" fmla="*/ 93945 h 3799348"/>
              <a:gd name="connsiteX20" fmla="*/ 9592957 w 10715630"/>
              <a:gd name="connsiteY20" fmla="*/ 169101 h 3799348"/>
              <a:gd name="connsiteX21" fmla="*/ 9981263 w 10715630"/>
              <a:gd name="connsiteY21" fmla="*/ 375781 h 3799348"/>
              <a:gd name="connsiteX22" fmla="*/ 10425937 w 10715630"/>
              <a:gd name="connsiteY22" fmla="*/ 751561 h 3799348"/>
              <a:gd name="connsiteX23" fmla="*/ 10670195 w 10715630"/>
              <a:gd name="connsiteY23" fmla="*/ 1240076 h 3799348"/>
              <a:gd name="connsiteX24" fmla="*/ 10714036 w 10715630"/>
              <a:gd name="connsiteY24" fmla="*/ 1791222 h 3799348"/>
              <a:gd name="connsiteX25" fmla="*/ 10707773 w 10715630"/>
              <a:gd name="connsiteY25" fmla="*/ 2035479 h 3799348"/>
              <a:gd name="connsiteX26" fmla="*/ 10632617 w 10715630"/>
              <a:gd name="connsiteY26" fmla="*/ 2311052 h 3799348"/>
              <a:gd name="connsiteX27" fmla="*/ 10432200 w 10715630"/>
              <a:gd name="connsiteY27" fmla="*/ 2680570 h 3799348"/>
              <a:gd name="connsiteX28" fmla="*/ 10269362 w 10715630"/>
              <a:gd name="connsiteY28" fmla="*/ 2843408 h 3799348"/>
              <a:gd name="connsiteX29" fmla="*/ 10012578 w 10715630"/>
              <a:gd name="connsiteY29" fmla="*/ 2987457 h 3799348"/>
              <a:gd name="connsiteX30" fmla="*/ 9430118 w 10715630"/>
              <a:gd name="connsiteY30" fmla="*/ 3118981 h 3799348"/>
              <a:gd name="connsiteX31" fmla="*/ 8496929 w 10715630"/>
              <a:gd name="connsiteY31" fmla="*/ 3106455 h 3799348"/>
              <a:gd name="connsiteX32" fmla="*/ 7632633 w 10715630"/>
              <a:gd name="connsiteY32" fmla="*/ 3043824 h 3799348"/>
              <a:gd name="connsiteX33" fmla="*/ 7106540 w 10715630"/>
              <a:gd name="connsiteY33" fmla="*/ 2974931 h 3799348"/>
              <a:gd name="connsiteX34" fmla="*/ 5634732 w 10715630"/>
              <a:gd name="connsiteY34" fmla="*/ 2812093 h 3799348"/>
              <a:gd name="connsiteX35" fmla="*/ 5484420 w 10715630"/>
              <a:gd name="connsiteY35" fmla="*/ 2943616 h 3799348"/>
              <a:gd name="connsiteX36" fmla="*/ 5778781 w 10715630"/>
              <a:gd name="connsiteY36" fmla="*/ 2999983 h 3799348"/>
              <a:gd name="connsiteX37" fmla="*/ 5246425 w 10715630"/>
              <a:gd name="connsiteY37"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344551 w 10715630"/>
              <a:gd name="connsiteY3" fmla="*/ 3682652 h 3799348"/>
              <a:gd name="connsiteX4" fmla="*/ 4876907 w 10715630"/>
              <a:gd name="connsiteY4" fmla="*/ 3482235 h 3799348"/>
              <a:gd name="connsiteX5" fmla="*/ 5321581 w 10715630"/>
              <a:gd name="connsiteY5" fmla="*/ 3156559 h 3799348"/>
              <a:gd name="connsiteX6" fmla="*/ 5634732 w 10715630"/>
              <a:gd name="connsiteY6" fmla="*/ 2774515 h 3799348"/>
              <a:gd name="connsiteX7" fmla="*/ 5716151 w 10715630"/>
              <a:gd name="connsiteY7" fmla="*/ 2617939 h 3799348"/>
              <a:gd name="connsiteX8" fmla="*/ 5866463 w 10715630"/>
              <a:gd name="connsiteY8" fmla="*/ 2254685 h 3799348"/>
              <a:gd name="connsiteX9" fmla="*/ 5997987 w 10715630"/>
              <a:gd name="connsiteY9" fmla="*/ 1803748 h 3799348"/>
              <a:gd name="connsiteX10" fmla="*/ 6411346 w 10715630"/>
              <a:gd name="connsiteY10" fmla="*/ 1108553 h 3799348"/>
              <a:gd name="connsiteX11" fmla="*/ 6693181 w 10715630"/>
              <a:gd name="connsiteY11" fmla="*/ 770350 h 3799348"/>
              <a:gd name="connsiteX12" fmla="*/ 6843494 w 10715630"/>
              <a:gd name="connsiteY12" fmla="*/ 632564 h 3799348"/>
              <a:gd name="connsiteX13" fmla="*/ 7306957 w 10715630"/>
              <a:gd name="connsiteY13" fmla="*/ 319413 h 3799348"/>
              <a:gd name="connsiteX14" fmla="*/ 7826787 w 10715630"/>
              <a:gd name="connsiteY14" fmla="*/ 112734 h 3799348"/>
              <a:gd name="connsiteX15" fmla="*/ 8071044 w 10715630"/>
              <a:gd name="connsiteY15" fmla="*/ 43841 h 3799348"/>
              <a:gd name="connsiteX16" fmla="*/ 8534507 w 10715630"/>
              <a:gd name="connsiteY16" fmla="*/ 0 h 3799348"/>
              <a:gd name="connsiteX17" fmla="*/ 9142020 w 10715630"/>
              <a:gd name="connsiteY17" fmla="*/ 31315 h 3799348"/>
              <a:gd name="connsiteX18" fmla="*/ 9386277 w 10715630"/>
              <a:gd name="connsiteY18" fmla="*/ 93945 h 3799348"/>
              <a:gd name="connsiteX19" fmla="*/ 9592957 w 10715630"/>
              <a:gd name="connsiteY19" fmla="*/ 169101 h 3799348"/>
              <a:gd name="connsiteX20" fmla="*/ 9981263 w 10715630"/>
              <a:gd name="connsiteY20" fmla="*/ 375781 h 3799348"/>
              <a:gd name="connsiteX21" fmla="*/ 10425937 w 10715630"/>
              <a:gd name="connsiteY21" fmla="*/ 751561 h 3799348"/>
              <a:gd name="connsiteX22" fmla="*/ 10670195 w 10715630"/>
              <a:gd name="connsiteY22" fmla="*/ 1240076 h 3799348"/>
              <a:gd name="connsiteX23" fmla="*/ 10714036 w 10715630"/>
              <a:gd name="connsiteY23" fmla="*/ 1791222 h 3799348"/>
              <a:gd name="connsiteX24" fmla="*/ 10707773 w 10715630"/>
              <a:gd name="connsiteY24" fmla="*/ 2035479 h 3799348"/>
              <a:gd name="connsiteX25" fmla="*/ 10632617 w 10715630"/>
              <a:gd name="connsiteY25" fmla="*/ 2311052 h 3799348"/>
              <a:gd name="connsiteX26" fmla="*/ 10432200 w 10715630"/>
              <a:gd name="connsiteY26" fmla="*/ 2680570 h 3799348"/>
              <a:gd name="connsiteX27" fmla="*/ 10269362 w 10715630"/>
              <a:gd name="connsiteY27" fmla="*/ 2843408 h 3799348"/>
              <a:gd name="connsiteX28" fmla="*/ 10012578 w 10715630"/>
              <a:gd name="connsiteY28" fmla="*/ 2987457 h 3799348"/>
              <a:gd name="connsiteX29" fmla="*/ 9430118 w 10715630"/>
              <a:gd name="connsiteY29" fmla="*/ 3118981 h 3799348"/>
              <a:gd name="connsiteX30" fmla="*/ 8496929 w 10715630"/>
              <a:gd name="connsiteY30" fmla="*/ 3106455 h 3799348"/>
              <a:gd name="connsiteX31" fmla="*/ 7632633 w 10715630"/>
              <a:gd name="connsiteY31" fmla="*/ 3043824 h 3799348"/>
              <a:gd name="connsiteX32" fmla="*/ 7106540 w 10715630"/>
              <a:gd name="connsiteY32" fmla="*/ 2974931 h 3799348"/>
              <a:gd name="connsiteX33" fmla="*/ 5634732 w 10715630"/>
              <a:gd name="connsiteY33" fmla="*/ 2812093 h 3799348"/>
              <a:gd name="connsiteX34" fmla="*/ 5484420 w 10715630"/>
              <a:gd name="connsiteY34" fmla="*/ 2943616 h 3799348"/>
              <a:gd name="connsiteX35" fmla="*/ 5778781 w 10715630"/>
              <a:gd name="connsiteY35" fmla="*/ 2999983 h 3799348"/>
              <a:gd name="connsiteX36" fmla="*/ 5246425 w 10715630"/>
              <a:gd name="connsiteY36"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876907 w 10715630"/>
              <a:gd name="connsiteY3" fmla="*/ 3482235 h 3799348"/>
              <a:gd name="connsiteX4" fmla="*/ 5321581 w 10715630"/>
              <a:gd name="connsiteY4" fmla="*/ 3156559 h 3799348"/>
              <a:gd name="connsiteX5" fmla="*/ 5634732 w 10715630"/>
              <a:gd name="connsiteY5" fmla="*/ 2774515 h 3799348"/>
              <a:gd name="connsiteX6" fmla="*/ 5716151 w 10715630"/>
              <a:gd name="connsiteY6" fmla="*/ 2617939 h 3799348"/>
              <a:gd name="connsiteX7" fmla="*/ 5866463 w 10715630"/>
              <a:gd name="connsiteY7" fmla="*/ 2254685 h 3799348"/>
              <a:gd name="connsiteX8" fmla="*/ 5997987 w 10715630"/>
              <a:gd name="connsiteY8" fmla="*/ 1803748 h 3799348"/>
              <a:gd name="connsiteX9" fmla="*/ 6411346 w 10715630"/>
              <a:gd name="connsiteY9" fmla="*/ 1108553 h 3799348"/>
              <a:gd name="connsiteX10" fmla="*/ 6693181 w 10715630"/>
              <a:gd name="connsiteY10" fmla="*/ 770350 h 3799348"/>
              <a:gd name="connsiteX11" fmla="*/ 6843494 w 10715630"/>
              <a:gd name="connsiteY11" fmla="*/ 632564 h 3799348"/>
              <a:gd name="connsiteX12" fmla="*/ 7306957 w 10715630"/>
              <a:gd name="connsiteY12" fmla="*/ 319413 h 3799348"/>
              <a:gd name="connsiteX13" fmla="*/ 7826787 w 10715630"/>
              <a:gd name="connsiteY13" fmla="*/ 112734 h 3799348"/>
              <a:gd name="connsiteX14" fmla="*/ 8071044 w 10715630"/>
              <a:gd name="connsiteY14" fmla="*/ 43841 h 3799348"/>
              <a:gd name="connsiteX15" fmla="*/ 8534507 w 10715630"/>
              <a:gd name="connsiteY15" fmla="*/ 0 h 3799348"/>
              <a:gd name="connsiteX16" fmla="*/ 9142020 w 10715630"/>
              <a:gd name="connsiteY16" fmla="*/ 31315 h 3799348"/>
              <a:gd name="connsiteX17" fmla="*/ 9386277 w 10715630"/>
              <a:gd name="connsiteY17" fmla="*/ 93945 h 3799348"/>
              <a:gd name="connsiteX18" fmla="*/ 9592957 w 10715630"/>
              <a:gd name="connsiteY18" fmla="*/ 169101 h 3799348"/>
              <a:gd name="connsiteX19" fmla="*/ 9981263 w 10715630"/>
              <a:gd name="connsiteY19" fmla="*/ 375781 h 3799348"/>
              <a:gd name="connsiteX20" fmla="*/ 10425937 w 10715630"/>
              <a:gd name="connsiteY20" fmla="*/ 751561 h 3799348"/>
              <a:gd name="connsiteX21" fmla="*/ 10670195 w 10715630"/>
              <a:gd name="connsiteY21" fmla="*/ 1240076 h 3799348"/>
              <a:gd name="connsiteX22" fmla="*/ 10714036 w 10715630"/>
              <a:gd name="connsiteY22" fmla="*/ 1791222 h 3799348"/>
              <a:gd name="connsiteX23" fmla="*/ 10707773 w 10715630"/>
              <a:gd name="connsiteY23" fmla="*/ 2035479 h 3799348"/>
              <a:gd name="connsiteX24" fmla="*/ 10632617 w 10715630"/>
              <a:gd name="connsiteY24" fmla="*/ 2311052 h 3799348"/>
              <a:gd name="connsiteX25" fmla="*/ 10432200 w 10715630"/>
              <a:gd name="connsiteY25" fmla="*/ 2680570 h 3799348"/>
              <a:gd name="connsiteX26" fmla="*/ 10269362 w 10715630"/>
              <a:gd name="connsiteY26" fmla="*/ 2843408 h 3799348"/>
              <a:gd name="connsiteX27" fmla="*/ 10012578 w 10715630"/>
              <a:gd name="connsiteY27" fmla="*/ 2987457 h 3799348"/>
              <a:gd name="connsiteX28" fmla="*/ 9430118 w 10715630"/>
              <a:gd name="connsiteY28" fmla="*/ 3118981 h 3799348"/>
              <a:gd name="connsiteX29" fmla="*/ 8496929 w 10715630"/>
              <a:gd name="connsiteY29" fmla="*/ 3106455 h 3799348"/>
              <a:gd name="connsiteX30" fmla="*/ 7632633 w 10715630"/>
              <a:gd name="connsiteY30" fmla="*/ 3043824 h 3799348"/>
              <a:gd name="connsiteX31" fmla="*/ 7106540 w 10715630"/>
              <a:gd name="connsiteY31" fmla="*/ 2974931 h 3799348"/>
              <a:gd name="connsiteX32" fmla="*/ 5634732 w 10715630"/>
              <a:gd name="connsiteY32" fmla="*/ 2812093 h 3799348"/>
              <a:gd name="connsiteX33" fmla="*/ 5484420 w 10715630"/>
              <a:gd name="connsiteY33" fmla="*/ 2943616 h 3799348"/>
              <a:gd name="connsiteX34" fmla="*/ 5778781 w 10715630"/>
              <a:gd name="connsiteY34" fmla="*/ 2999983 h 3799348"/>
              <a:gd name="connsiteX35" fmla="*/ 5246425 w 10715630"/>
              <a:gd name="connsiteY35"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5321581 w 10715630"/>
              <a:gd name="connsiteY3" fmla="*/ 3156559 h 3799348"/>
              <a:gd name="connsiteX4" fmla="*/ 5634732 w 10715630"/>
              <a:gd name="connsiteY4" fmla="*/ 2774515 h 3799348"/>
              <a:gd name="connsiteX5" fmla="*/ 5716151 w 10715630"/>
              <a:gd name="connsiteY5" fmla="*/ 2617939 h 3799348"/>
              <a:gd name="connsiteX6" fmla="*/ 5866463 w 10715630"/>
              <a:gd name="connsiteY6" fmla="*/ 2254685 h 3799348"/>
              <a:gd name="connsiteX7" fmla="*/ 5997987 w 10715630"/>
              <a:gd name="connsiteY7" fmla="*/ 1803748 h 3799348"/>
              <a:gd name="connsiteX8" fmla="*/ 6411346 w 10715630"/>
              <a:gd name="connsiteY8" fmla="*/ 1108553 h 3799348"/>
              <a:gd name="connsiteX9" fmla="*/ 6693181 w 10715630"/>
              <a:gd name="connsiteY9" fmla="*/ 770350 h 3799348"/>
              <a:gd name="connsiteX10" fmla="*/ 6843494 w 10715630"/>
              <a:gd name="connsiteY10" fmla="*/ 632564 h 3799348"/>
              <a:gd name="connsiteX11" fmla="*/ 7306957 w 10715630"/>
              <a:gd name="connsiteY11" fmla="*/ 319413 h 3799348"/>
              <a:gd name="connsiteX12" fmla="*/ 7826787 w 10715630"/>
              <a:gd name="connsiteY12" fmla="*/ 112734 h 3799348"/>
              <a:gd name="connsiteX13" fmla="*/ 8071044 w 10715630"/>
              <a:gd name="connsiteY13" fmla="*/ 43841 h 3799348"/>
              <a:gd name="connsiteX14" fmla="*/ 8534507 w 10715630"/>
              <a:gd name="connsiteY14" fmla="*/ 0 h 3799348"/>
              <a:gd name="connsiteX15" fmla="*/ 9142020 w 10715630"/>
              <a:gd name="connsiteY15" fmla="*/ 31315 h 3799348"/>
              <a:gd name="connsiteX16" fmla="*/ 9386277 w 10715630"/>
              <a:gd name="connsiteY16" fmla="*/ 93945 h 3799348"/>
              <a:gd name="connsiteX17" fmla="*/ 9592957 w 10715630"/>
              <a:gd name="connsiteY17" fmla="*/ 169101 h 3799348"/>
              <a:gd name="connsiteX18" fmla="*/ 9981263 w 10715630"/>
              <a:gd name="connsiteY18" fmla="*/ 375781 h 3799348"/>
              <a:gd name="connsiteX19" fmla="*/ 10425937 w 10715630"/>
              <a:gd name="connsiteY19" fmla="*/ 751561 h 3799348"/>
              <a:gd name="connsiteX20" fmla="*/ 10670195 w 10715630"/>
              <a:gd name="connsiteY20" fmla="*/ 1240076 h 3799348"/>
              <a:gd name="connsiteX21" fmla="*/ 10714036 w 10715630"/>
              <a:gd name="connsiteY21" fmla="*/ 1791222 h 3799348"/>
              <a:gd name="connsiteX22" fmla="*/ 10707773 w 10715630"/>
              <a:gd name="connsiteY22" fmla="*/ 2035479 h 3799348"/>
              <a:gd name="connsiteX23" fmla="*/ 10632617 w 10715630"/>
              <a:gd name="connsiteY23" fmla="*/ 2311052 h 3799348"/>
              <a:gd name="connsiteX24" fmla="*/ 10432200 w 10715630"/>
              <a:gd name="connsiteY24" fmla="*/ 2680570 h 3799348"/>
              <a:gd name="connsiteX25" fmla="*/ 10269362 w 10715630"/>
              <a:gd name="connsiteY25" fmla="*/ 2843408 h 3799348"/>
              <a:gd name="connsiteX26" fmla="*/ 10012578 w 10715630"/>
              <a:gd name="connsiteY26" fmla="*/ 2987457 h 3799348"/>
              <a:gd name="connsiteX27" fmla="*/ 9430118 w 10715630"/>
              <a:gd name="connsiteY27" fmla="*/ 3118981 h 3799348"/>
              <a:gd name="connsiteX28" fmla="*/ 8496929 w 10715630"/>
              <a:gd name="connsiteY28" fmla="*/ 3106455 h 3799348"/>
              <a:gd name="connsiteX29" fmla="*/ 7632633 w 10715630"/>
              <a:gd name="connsiteY29" fmla="*/ 3043824 h 3799348"/>
              <a:gd name="connsiteX30" fmla="*/ 7106540 w 10715630"/>
              <a:gd name="connsiteY30" fmla="*/ 2974931 h 3799348"/>
              <a:gd name="connsiteX31" fmla="*/ 5634732 w 10715630"/>
              <a:gd name="connsiteY31" fmla="*/ 2812093 h 3799348"/>
              <a:gd name="connsiteX32" fmla="*/ 5484420 w 10715630"/>
              <a:gd name="connsiteY32" fmla="*/ 2943616 h 3799348"/>
              <a:gd name="connsiteX33" fmla="*/ 5778781 w 10715630"/>
              <a:gd name="connsiteY33" fmla="*/ 2999983 h 3799348"/>
              <a:gd name="connsiteX34" fmla="*/ 5246425 w 10715630"/>
              <a:gd name="connsiteY34" fmla="*/ 2711885 h 3799348"/>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716151 w 10715630"/>
              <a:gd name="connsiteY4" fmla="*/ 2617939 h 3828276"/>
              <a:gd name="connsiteX5" fmla="*/ 5866463 w 10715630"/>
              <a:gd name="connsiteY5" fmla="*/ 2254685 h 3828276"/>
              <a:gd name="connsiteX6" fmla="*/ 5997987 w 10715630"/>
              <a:gd name="connsiteY6" fmla="*/ 1803748 h 3828276"/>
              <a:gd name="connsiteX7" fmla="*/ 6411346 w 10715630"/>
              <a:gd name="connsiteY7" fmla="*/ 1108553 h 3828276"/>
              <a:gd name="connsiteX8" fmla="*/ 6693181 w 10715630"/>
              <a:gd name="connsiteY8" fmla="*/ 770350 h 3828276"/>
              <a:gd name="connsiteX9" fmla="*/ 6843494 w 10715630"/>
              <a:gd name="connsiteY9" fmla="*/ 632564 h 3828276"/>
              <a:gd name="connsiteX10" fmla="*/ 7306957 w 10715630"/>
              <a:gd name="connsiteY10" fmla="*/ 319413 h 3828276"/>
              <a:gd name="connsiteX11" fmla="*/ 7826787 w 10715630"/>
              <a:gd name="connsiteY11" fmla="*/ 112734 h 3828276"/>
              <a:gd name="connsiteX12" fmla="*/ 8071044 w 10715630"/>
              <a:gd name="connsiteY12" fmla="*/ 43841 h 3828276"/>
              <a:gd name="connsiteX13" fmla="*/ 8534507 w 10715630"/>
              <a:gd name="connsiteY13" fmla="*/ 0 h 3828276"/>
              <a:gd name="connsiteX14" fmla="*/ 9142020 w 10715630"/>
              <a:gd name="connsiteY14" fmla="*/ 31315 h 3828276"/>
              <a:gd name="connsiteX15" fmla="*/ 9386277 w 10715630"/>
              <a:gd name="connsiteY15" fmla="*/ 93945 h 3828276"/>
              <a:gd name="connsiteX16" fmla="*/ 9592957 w 10715630"/>
              <a:gd name="connsiteY16" fmla="*/ 169101 h 3828276"/>
              <a:gd name="connsiteX17" fmla="*/ 9981263 w 10715630"/>
              <a:gd name="connsiteY17" fmla="*/ 375781 h 3828276"/>
              <a:gd name="connsiteX18" fmla="*/ 10425937 w 10715630"/>
              <a:gd name="connsiteY18" fmla="*/ 751561 h 3828276"/>
              <a:gd name="connsiteX19" fmla="*/ 10670195 w 10715630"/>
              <a:gd name="connsiteY19" fmla="*/ 1240076 h 3828276"/>
              <a:gd name="connsiteX20" fmla="*/ 10714036 w 10715630"/>
              <a:gd name="connsiteY20" fmla="*/ 1791222 h 3828276"/>
              <a:gd name="connsiteX21" fmla="*/ 10707773 w 10715630"/>
              <a:gd name="connsiteY21" fmla="*/ 2035479 h 3828276"/>
              <a:gd name="connsiteX22" fmla="*/ 10632617 w 10715630"/>
              <a:gd name="connsiteY22" fmla="*/ 2311052 h 3828276"/>
              <a:gd name="connsiteX23" fmla="*/ 10432200 w 10715630"/>
              <a:gd name="connsiteY23" fmla="*/ 2680570 h 3828276"/>
              <a:gd name="connsiteX24" fmla="*/ 10269362 w 10715630"/>
              <a:gd name="connsiteY24" fmla="*/ 2843408 h 3828276"/>
              <a:gd name="connsiteX25" fmla="*/ 10012578 w 10715630"/>
              <a:gd name="connsiteY25" fmla="*/ 2987457 h 3828276"/>
              <a:gd name="connsiteX26" fmla="*/ 9430118 w 10715630"/>
              <a:gd name="connsiteY26" fmla="*/ 3118981 h 3828276"/>
              <a:gd name="connsiteX27" fmla="*/ 8496929 w 10715630"/>
              <a:gd name="connsiteY27" fmla="*/ 3106455 h 3828276"/>
              <a:gd name="connsiteX28" fmla="*/ 7632633 w 10715630"/>
              <a:gd name="connsiteY28" fmla="*/ 3043824 h 3828276"/>
              <a:gd name="connsiteX29" fmla="*/ 7106540 w 10715630"/>
              <a:gd name="connsiteY29" fmla="*/ 2974931 h 3828276"/>
              <a:gd name="connsiteX30" fmla="*/ 5634732 w 10715630"/>
              <a:gd name="connsiteY30" fmla="*/ 2812093 h 3828276"/>
              <a:gd name="connsiteX31" fmla="*/ 5484420 w 10715630"/>
              <a:gd name="connsiteY31" fmla="*/ 2943616 h 3828276"/>
              <a:gd name="connsiteX32" fmla="*/ 5778781 w 10715630"/>
              <a:gd name="connsiteY32" fmla="*/ 2999983 h 3828276"/>
              <a:gd name="connsiteX33" fmla="*/ 5246425 w 10715630"/>
              <a:gd name="connsiteY33" fmla="*/ 2711885 h 3828276"/>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866463 w 10715630"/>
              <a:gd name="connsiteY4" fmla="*/ 2254685 h 3828276"/>
              <a:gd name="connsiteX5" fmla="*/ 5997987 w 10715630"/>
              <a:gd name="connsiteY5" fmla="*/ 1803748 h 3828276"/>
              <a:gd name="connsiteX6" fmla="*/ 6411346 w 10715630"/>
              <a:gd name="connsiteY6" fmla="*/ 1108553 h 3828276"/>
              <a:gd name="connsiteX7" fmla="*/ 6693181 w 10715630"/>
              <a:gd name="connsiteY7" fmla="*/ 770350 h 3828276"/>
              <a:gd name="connsiteX8" fmla="*/ 6843494 w 10715630"/>
              <a:gd name="connsiteY8" fmla="*/ 632564 h 3828276"/>
              <a:gd name="connsiteX9" fmla="*/ 7306957 w 10715630"/>
              <a:gd name="connsiteY9" fmla="*/ 319413 h 3828276"/>
              <a:gd name="connsiteX10" fmla="*/ 7826787 w 10715630"/>
              <a:gd name="connsiteY10" fmla="*/ 112734 h 3828276"/>
              <a:gd name="connsiteX11" fmla="*/ 8071044 w 10715630"/>
              <a:gd name="connsiteY11" fmla="*/ 43841 h 3828276"/>
              <a:gd name="connsiteX12" fmla="*/ 8534507 w 10715630"/>
              <a:gd name="connsiteY12" fmla="*/ 0 h 3828276"/>
              <a:gd name="connsiteX13" fmla="*/ 9142020 w 10715630"/>
              <a:gd name="connsiteY13" fmla="*/ 31315 h 3828276"/>
              <a:gd name="connsiteX14" fmla="*/ 9386277 w 10715630"/>
              <a:gd name="connsiteY14" fmla="*/ 93945 h 3828276"/>
              <a:gd name="connsiteX15" fmla="*/ 9592957 w 10715630"/>
              <a:gd name="connsiteY15" fmla="*/ 169101 h 3828276"/>
              <a:gd name="connsiteX16" fmla="*/ 9981263 w 10715630"/>
              <a:gd name="connsiteY16" fmla="*/ 375781 h 3828276"/>
              <a:gd name="connsiteX17" fmla="*/ 10425937 w 10715630"/>
              <a:gd name="connsiteY17" fmla="*/ 751561 h 3828276"/>
              <a:gd name="connsiteX18" fmla="*/ 10670195 w 10715630"/>
              <a:gd name="connsiteY18" fmla="*/ 1240076 h 3828276"/>
              <a:gd name="connsiteX19" fmla="*/ 10714036 w 10715630"/>
              <a:gd name="connsiteY19" fmla="*/ 1791222 h 3828276"/>
              <a:gd name="connsiteX20" fmla="*/ 10707773 w 10715630"/>
              <a:gd name="connsiteY20" fmla="*/ 2035479 h 3828276"/>
              <a:gd name="connsiteX21" fmla="*/ 10632617 w 10715630"/>
              <a:gd name="connsiteY21" fmla="*/ 2311052 h 3828276"/>
              <a:gd name="connsiteX22" fmla="*/ 10432200 w 10715630"/>
              <a:gd name="connsiteY22" fmla="*/ 2680570 h 3828276"/>
              <a:gd name="connsiteX23" fmla="*/ 10269362 w 10715630"/>
              <a:gd name="connsiteY23" fmla="*/ 2843408 h 3828276"/>
              <a:gd name="connsiteX24" fmla="*/ 10012578 w 10715630"/>
              <a:gd name="connsiteY24" fmla="*/ 2987457 h 3828276"/>
              <a:gd name="connsiteX25" fmla="*/ 9430118 w 10715630"/>
              <a:gd name="connsiteY25" fmla="*/ 3118981 h 3828276"/>
              <a:gd name="connsiteX26" fmla="*/ 8496929 w 10715630"/>
              <a:gd name="connsiteY26" fmla="*/ 3106455 h 3828276"/>
              <a:gd name="connsiteX27" fmla="*/ 7632633 w 10715630"/>
              <a:gd name="connsiteY27" fmla="*/ 3043824 h 3828276"/>
              <a:gd name="connsiteX28" fmla="*/ 7106540 w 10715630"/>
              <a:gd name="connsiteY28" fmla="*/ 2974931 h 3828276"/>
              <a:gd name="connsiteX29" fmla="*/ 5634732 w 10715630"/>
              <a:gd name="connsiteY29" fmla="*/ 2812093 h 3828276"/>
              <a:gd name="connsiteX30" fmla="*/ 5484420 w 10715630"/>
              <a:gd name="connsiteY30" fmla="*/ 2943616 h 3828276"/>
              <a:gd name="connsiteX31" fmla="*/ 5778781 w 10715630"/>
              <a:gd name="connsiteY31" fmla="*/ 2999983 h 3828276"/>
              <a:gd name="connsiteX32" fmla="*/ 5246425 w 10715630"/>
              <a:gd name="connsiteY32" fmla="*/ 2711885 h 3828276"/>
              <a:gd name="connsiteX0" fmla="*/ 0 w 10715630"/>
              <a:gd name="connsiteY0" fmla="*/ 3799348 h 3828276"/>
              <a:gd name="connsiteX1" fmla="*/ 3968770 w 10715630"/>
              <a:gd name="connsiteY1" fmla="*/ 3739019 h 3828276"/>
              <a:gd name="connsiteX2" fmla="*/ 5634732 w 10715630"/>
              <a:gd name="connsiteY2" fmla="*/ 2774515 h 3828276"/>
              <a:gd name="connsiteX3" fmla="*/ 5866463 w 10715630"/>
              <a:gd name="connsiteY3" fmla="*/ 2254685 h 3828276"/>
              <a:gd name="connsiteX4" fmla="*/ 5997987 w 10715630"/>
              <a:gd name="connsiteY4" fmla="*/ 1803748 h 3828276"/>
              <a:gd name="connsiteX5" fmla="*/ 6411346 w 10715630"/>
              <a:gd name="connsiteY5" fmla="*/ 1108553 h 3828276"/>
              <a:gd name="connsiteX6" fmla="*/ 6693181 w 10715630"/>
              <a:gd name="connsiteY6" fmla="*/ 770350 h 3828276"/>
              <a:gd name="connsiteX7" fmla="*/ 6843494 w 10715630"/>
              <a:gd name="connsiteY7" fmla="*/ 632564 h 3828276"/>
              <a:gd name="connsiteX8" fmla="*/ 7306957 w 10715630"/>
              <a:gd name="connsiteY8" fmla="*/ 319413 h 3828276"/>
              <a:gd name="connsiteX9" fmla="*/ 7826787 w 10715630"/>
              <a:gd name="connsiteY9" fmla="*/ 112734 h 3828276"/>
              <a:gd name="connsiteX10" fmla="*/ 8071044 w 10715630"/>
              <a:gd name="connsiteY10" fmla="*/ 43841 h 3828276"/>
              <a:gd name="connsiteX11" fmla="*/ 8534507 w 10715630"/>
              <a:gd name="connsiteY11" fmla="*/ 0 h 3828276"/>
              <a:gd name="connsiteX12" fmla="*/ 9142020 w 10715630"/>
              <a:gd name="connsiteY12" fmla="*/ 31315 h 3828276"/>
              <a:gd name="connsiteX13" fmla="*/ 9386277 w 10715630"/>
              <a:gd name="connsiteY13" fmla="*/ 93945 h 3828276"/>
              <a:gd name="connsiteX14" fmla="*/ 9592957 w 10715630"/>
              <a:gd name="connsiteY14" fmla="*/ 169101 h 3828276"/>
              <a:gd name="connsiteX15" fmla="*/ 9981263 w 10715630"/>
              <a:gd name="connsiteY15" fmla="*/ 375781 h 3828276"/>
              <a:gd name="connsiteX16" fmla="*/ 10425937 w 10715630"/>
              <a:gd name="connsiteY16" fmla="*/ 751561 h 3828276"/>
              <a:gd name="connsiteX17" fmla="*/ 10670195 w 10715630"/>
              <a:gd name="connsiteY17" fmla="*/ 1240076 h 3828276"/>
              <a:gd name="connsiteX18" fmla="*/ 10714036 w 10715630"/>
              <a:gd name="connsiteY18" fmla="*/ 1791222 h 3828276"/>
              <a:gd name="connsiteX19" fmla="*/ 10707773 w 10715630"/>
              <a:gd name="connsiteY19" fmla="*/ 2035479 h 3828276"/>
              <a:gd name="connsiteX20" fmla="*/ 10632617 w 10715630"/>
              <a:gd name="connsiteY20" fmla="*/ 2311052 h 3828276"/>
              <a:gd name="connsiteX21" fmla="*/ 10432200 w 10715630"/>
              <a:gd name="connsiteY21" fmla="*/ 2680570 h 3828276"/>
              <a:gd name="connsiteX22" fmla="*/ 10269362 w 10715630"/>
              <a:gd name="connsiteY22" fmla="*/ 2843408 h 3828276"/>
              <a:gd name="connsiteX23" fmla="*/ 10012578 w 10715630"/>
              <a:gd name="connsiteY23" fmla="*/ 2987457 h 3828276"/>
              <a:gd name="connsiteX24" fmla="*/ 9430118 w 10715630"/>
              <a:gd name="connsiteY24" fmla="*/ 3118981 h 3828276"/>
              <a:gd name="connsiteX25" fmla="*/ 8496929 w 10715630"/>
              <a:gd name="connsiteY25" fmla="*/ 3106455 h 3828276"/>
              <a:gd name="connsiteX26" fmla="*/ 7632633 w 10715630"/>
              <a:gd name="connsiteY26" fmla="*/ 3043824 h 3828276"/>
              <a:gd name="connsiteX27" fmla="*/ 7106540 w 10715630"/>
              <a:gd name="connsiteY27" fmla="*/ 2974931 h 3828276"/>
              <a:gd name="connsiteX28" fmla="*/ 5634732 w 10715630"/>
              <a:gd name="connsiteY28" fmla="*/ 2812093 h 3828276"/>
              <a:gd name="connsiteX29" fmla="*/ 5484420 w 10715630"/>
              <a:gd name="connsiteY29" fmla="*/ 2943616 h 3828276"/>
              <a:gd name="connsiteX30" fmla="*/ 5778781 w 10715630"/>
              <a:gd name="connsiteY30" fmla="*/ 2999983 h 3828276"/>
              <a:gd name="connsiteX31" fmla="*/ 5246425 w 10715630"/>
              <a:gd name="connsiteY31" fmla="*/ 2711885 h 3828276"/>
              <a:gd name="connsiteX0" fmla="*/ 0 w 10302990"/>
              <a:gd name="connsiteY0" fmla="*/ 3799348 h 3828276"/>
              <a:gd name="connsiteX1" fmla="*/ 3556130 w 10302990"/>
              <a:gd name="connsiteY1" fmla="*/ 3739019 h 3828276"/>
              <a:gd name="connsiteX2" fmla="*/ 5222092 w 10302990"/>
              <a:gd name="connsiteY2" fmla="*/ 2774515 h 3828276"/>
              <a:gd name="connsiteX3" fmla="*/ 5453823 w 10302990"/>
              <a:gd name="connsiteY3" fmla="*/ 2254685 h 3828276"/>
              <a:gd name="connsiteX4" fmla="*/ 5585347 w 10302990"/>
              <a:gd name="connsiteY4" fmla="*/ 1803748 h 3828276"/>
              <a:gd name="connsiteX5" fmla="*/ 5998706 w 10302990"/>
              <a:gd name="connsiteY5" fmla="*/ 1108553 h 3828276"/>
              <a:gd name="connsiteX6" fmla="*/ 6280541 w 10302990"/>
              <a:gd name="connsiteY6" fmla="*/ 770350 h 3828276"/>
              <a:gd name="connsiteX7" fmla="*/ 6430854 w 10302990"/>
              <a:gd name="connsiteY7" fmla="*/ 632564 h 3828276"/>
              <a:gd name="connsiteX8" fmla="*/ 6894317 w 10302990"/>
              <a:gd name="connsiteY8" fmla="*/ 319413 h 3828276"/>
              <a:gd name="connsiteX9" fmla="*/ 7414147 w 10302990"/>
              <a:gd name="connsiteY9" fmla="*/ 112734 h 3828276"/>
              <a:gd name="connsiteX10" fmla="*/ 7658404 w 10302990"/>
              <a:gd name="connsiteY10" fmla="*/ 43841 h 3828276"/>
              <a:gd name="connsiteX11" fmla="*/ 8121867 w 10302990"/>
              <a:gd name="connsiteY11" fmla="*/ 0 h 3828276"/>
              <a:gd name="connsiteX12" fmla="*/ 8729380 w 10302990"/>
              <a:gd name="connsiteY12" fmla="*/ 31315 h 3828276"/>
              <a:gd name="connsiteX13" fmla="*/ 8973637 w 10302990"/>
              <a:gd name="connsiteY13" fmla="*/ 93945 h 3828276"/>
              <a:gd name="connsiteX14" fmla="*/ 9180317 w 10302990"/>
              <a:gd name="connsiteY14" fmla="*/ 169101 h 3828276"/>
              <a:gd name="connsiteX15" fmla="*/ 9568623 w 10302990"/>
              <a:gd name="connsiteY15" fmla="*/ 375781 h 3828276"/>
              <a:gd name="connsiteX16" fmla="*/ 10013297 w 10302990"/>
              <a:gd name="connsiteY16" fmla="*/ 751561 h 3828276"/>
              <a:gd name="connsiteX17" fmla="*/ 10257555 w 10302990"/>
              <a:gd name="connsiteY17" fmla="*/ 1240076 h 3828276"/>
              <a:gd name="connsiteX18" fmla="*/ 10301396 w 10302990"/>
              <a:gd name="connsiteY18" fmla="*/ 1791222 h 3828276"/>
              <a:gd name="connsiteX19" fmla="*/ 10295133 w 10302990"/>
              <a:gd name="connsiteY19" fmla="*/ 2035479 h 3828276"/>
              <a:gd name="connsiteX20" fmla="*/ 10219977 w 10302990"/>
              <a:gd name="connsiteY20" fmla="*/ 2311052 h 3828276"/>
              <a:gd name="connsiteX21" fmla="*/ 10019560 w 10302990"/>
              <a:gd name="connsiteY21" fmla="*/ 2680570 h 3828276"/>
              <a:gd name="connsiteX22" fmla="*/ 9856722 w 10302990"/>
              <a:gd name="connsiteY22" fmla="*/ 2843408 h 3828276"/>
              <a:gd name="connsiteX23" fmla="*/ 9599938 w 10302990"/>
              <a:gd name="connsiteY23" fmla="*/ 2987457 h 3828276"/>
              <a:gd name="connsiteX24" fmla="*/ 9017478 w 10302990"/>
              <a:gd name="connsiteY24" fmla="*/ 3118981 h 3828276"/>
              <a:gd name="connsiteX25" fmla="*/ 8084289 w 10302990"/>
              <a:gd name="connsiteY25" fmla="*/ 3106455 h 3828276"/>
              <a:gd name="connsiteX26" fmla="*/ 7219993 w 10302990"/>
              <a:gd name="connsiteY26" fmla="*/ 3043824 h 3828276"/>
              <a:gd name="connsiteX27" fmla="*/ 6693900 w 10302990"/>
              <a:gd name="connsiteY27" fmla="*/ 2974931 h 3828276"/>
              <a:gd name="connsiteX28" fmla="*/ 5222092 w 10302990"/>
              <a:gd name="connsiteY28" fmla="*/ 2812093 h 3828276"/>
              <a:gd name="connsiteX29" fmla="*/ 5071780 w 10302990"/>
              <a:gd name="connsiteY29" fmla="*/ 2943616 h 3828276"/>
              <a:gd name="connsiteX30" fmla="*/ 5366141 w 10302990"/>
              <a:gd name="connsiteY30" fmla="*/ 2999983 h 3828276"/>
              <a:gd name="connsiteX31" fmla="*/ 4833785 w 10302990"/>
              <a:gd name="connsiteY31" fmla="*/ 2711885 h 3828276"/>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731095 w 9402684"/>
              <a:gd name="connsiteY23" fmla="*/ 2974295 h 4164902"/>
              <a:gd name="connsiteX24" fmla="*/ 8699632 w 9402684"/>
              <a:gd name="connsiteY24" fmla="*/ 2987457 h 4164902"/>
              <a:gd name="connsiteX25" fmla="*/ 8117172 w 9402684"/>
              <a:gd name="connsiteY25" fmla="*/ 3118981 h 4164902"/>
              <a:gd name="connsiteX26" fmla="*/ 7183983 w 9402684"/>
              <a:gd name="connsiteY26" fmla="*/ 3106455 h 4164902"/>
              <a:gd name="connsiteX27" fmla="*/ 6319687 w 9402684"/>
              <a:gd name="connsiteY27" fmla="*/ 3043824 h 4164902"/>
              <a:gd name="connsiteX28" fmla="*/ 5793594 w 9402684"/>
              <a:gd name="connsiteY28" fmla="*/ 2974931 h 4164902"/>
              <a:gd name="connsiteX29" fmla="*/ 4321786 w 9402684"/>
              <a:gd name="connsiteY29" fmla="*/ 2812093 h 4164902"/>
              <a:gd name="connsiteX30" fmla="*/ 4171474 w 9402684"/>
              <a:gd name="connsiteY30" fmla="*/ 2943616 h 4164902"/>
              <a:gd name="connsiteX31" fmla="*/ 4465835 w 9402684"/>
              <a:gd name="connsiteY31" fmla="*/ 2999983 h 4164902"/>
              <a:gd name="connsiteX32" fmla="*/ 3933479 w 9402684"/>
              <a:gd name="connsiteY32"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117172 w 9402684"/>
              <a:gd name="connsiteY23" fmla="*/ 3118981 h 4164902"/>
              <a:gd name="connsiteX24" fmla="*/ 7183983 w 9402684"/>
              <a:gd name="connsiteY24" fmla="*/ 3106455 h 4164902"/>
              <a:gd name="connsiteX25" fmla="*/ 6319687 w 9402684"/>
              <a:gd name="connsiteY25" fmla="*/ 3043824 h 4164902"/>
              <a:gd name="connsiteX26" fmla="*/ 5793594 w 9402684"/>
              <a:gd name="connsiteY26" fmla="*/ 2974931 h 4164902"/>
              <a:gd name="connsiteX27" fmla="*/ 4321786 w 9402684"/>
              <a:gd name="connsiteY27" fmla="*/ 2812093 h 4164902"/>
              <a:gd name="connsiteX28" fmla="*/ 4171474 w 9402684"/>
              <a:gd name="connsiteY28" fmla="*/ 2943616 h 4164902"/>
              <a:gd name="connsiteX29" fmla="*/ 4465835 w 9402684"/>
              <a:gd name="connsiteY29" fmla="*/ 2999983 h 4164902"/>
              <a:gd name="connsiteX30" fmla="*/ 3933479 w 9402684"/>
              <a:gd name="connsiteY30"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117172 w 9402684"/>
              <a:gd name="connsiteY22" fmla="*/ 3118981 h 4164902"/>
              <a:gd name="connsiteX23" fmla="*/ 7183983 w 9402684"/>
              <a:gd name="connsiteY23" fmla="*/ 3106455 h 4164902"/>
              <a:gd name="connsiteX24" fmla="*/ 6319687 w 9402684"/>
              <a:gd name="connsiteY24" fmla="*/ 3043824 h 4164902"/>
              <a:gd name="connsiteX25" fmla="*/ 5793594 w 9402684"/>
              <a:gd name="connsiteY25" fmla="*/ 2974931 h 4164902"/>
              <a:gd name="connsiteX26" fmla="*/ 4321786 w 9402684"/>
              <a:gd name="connsiteY26" fmla="*/ 2812093 h 4164902"/>
              <a:gd name="connsiteX27" fmla="*/ 4171474 w 9402684"/>
              <a:gd name="connsiteY27" fmla="*/ 2943616 h 4164902"/>
              <a:gd name="connsiteX28" fmla="*/ 4465835 w 9402684"/>
              <a:gd name="connsiteY28" fmla="*/ 2999983 h 4164902"/>
              <a:gd name="connsiteX29" fmla="*/ 3933479 w 9402684"/>
              <a:gd name="connsiteY29"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7183983 w 9402684"/>
              <a:gd name="connsiteY22" fmla="*/ 3106455 h 4164902"/>
              <a:gd name="connsiteX23" fmla="*/ 6319687 w 9402684"/>
              <a:gd name="connsiteY23" fmla="*/ 3043824 h 4164902"/>
              <a:gd name="connsiteX24" fmla="*/ 5793594 w 9402684"/>
              <a:gd name="connsiteY24" fmla="*/ 2974931 h 4164902"/>
              <a:gd name="connsiteX25" fmla="*/ 4321786 w 9402684"/>
              <a:gd name="connsiteY25" fmla="*/ 2812093 h 4164902"/>
              <a:gd name="connsiteX26" fmla="*/ 4171474 w 9402684"/>
              <a:gd name="connsiteY26" fmla="*/ 2943616 h 4164902"/>
              <a:gd name="connsiteX27" fmla="*/ 4465835 w 9402684"/>
              <a:gd name="connsiteY27" fmla="*/ 2999983 h 4164902"/>
              <a:gd name="connsiteX28" fmla="*/ 3933479 w 9402684"/>
              <a:gd name="connsiteY28" fmla="*/ 2711885 h 4164902"/>
              <a:gd name="connsiteX0" fmla="*/ 0 w 9501499"/>
              <a:gd name="connsiteY0" fmla="*/ 4164902 h 4164902"/>
              <a:gd name="connsiteX1" fmla="*/ 2655824 w 9501499"/>
              <a:gd name="connsiteY1" fmla="*/ 3739019 h 4164902"/>
              <a:gd name="connsiteX2" fmla="*/ 4321786 w 9501499"/>
              <a:gd name="connsiteY2" fmla="*/ 2774515 h 4164902"/>
              <a:gd name="connsiteX3" fmla="*/ 4553517 w 9501499"/>
              <a:gd name="connsiteY3" fmla="*/ 2254685 h 4164902"/>
              <a:gd name="connsiteX4" fmla="*/ 4685041 w 9501499"/>
              <a:gd name="connsiteY4" fmla="*/ 1803748 h 4164902"/>
              <a:gd name="connsiteX5" fmla="*/ 5098400 w 9501499"/>
              <a:gd name="connsiteY5" fmla="*/ 1108553 h 4164902"/>
              <a:gd name="connsiteX6" fmla="*/ 5380235 w 9501499"/>
              <a:gd name="connsiteY6" fmla="*/ 770350 h 4164902"/>
              <a:gd name="connsiteX7" fmla="*/ 5530548 w 9501499"/>
              <a:gd name="connsiteY7" fmla="*/ 632564 h 4164902"/>
              <a:gd name="connsiteX8" fmla="*/ 5994011 w 9501499"/>
              <a:gd name="connsiteY8" fmla="*/ 319413 h 4164902"/>
              <a:gd name="connsiteX9" fmla="*/ 6513841 w 9501499"/>
              <a:gd name="connsiteY9" fmla="*/ 112734 h 4164902"/>
              <a:gd name="connsiteX10" fmla="*/ 6758098 w 9501499"/>
              <a:gd name="connsiteY10" fmla="*/ 43841 h 4164902"/>
              <a:gd name="connsiteX11" fmla="*/ 7221561 w 9501499"/>
              <a:gd name="connsiteY11" fmla="*/ 0 h 4164902"/>
              <a:gd name="connsiteX12" fmla="*/ 7829074 w 9501499"/>
              <a:gd name="connsiteY12" fmla="*/ 31315 h 4164902"/>
              <a:gd name="connsiteX13" fmla="*/ 8073331 w 9501499"/>
              <a:gd name="connsiteY13" fmla="*/ 93945 h 4164902"/>
              <a:gd name="connsiteX14" fmla="*/ 8280011 w 9501499"/>
              <a:gd name="connsiteY14" fmla="*/ 169101 h 4164902"/>
              <a:gd name="connsiteX15" fmla="*/ 8668317 w 9501499"/>
              <a:gd name="connsiteY15" fmla="*/ 375781 h 4164902"/>
              <a:gd name="connsiteX16" fmla="*/ 9112991 w 9501499"/>
              <a:gd name="connsiteY16" fmla="*/ 751561 h 4164902"/>
              <a:gd name="connsiteX17" fmla="*/ 9357249 w 9501499"/>
              <a:gd name="connsiteY17" fmla="*/ 1240076 h 4164902"/>
              <a:gd name="connsiteX18" fmla="*/ 9401090 w 9501499"/>
              <a:gd name="connsiteY18" fmla="*/ 1791222 h 4164902"/>
              <a:gd name="connsiteX19" fmla="*/ 9394827 w 9501499"/>
              <a:gd name="connsiteY19" fmla="*/ 2035479 h 4164902"/>
              <a:gd name="connsiteX20" fmla="*/ 9319671 w 9501499"/>
              <a:gd name="connsiteY20" fmla="*/ 2311052 h 4164902"/>
              <a:gd name="connsiteX21" fmla="*/ 7183983 w 9501499"/>
              <a:gd name="connsiteY21" fmla="*/ 3106455 h 4164902"/>
              <a:gd name="connsiteX22" fmla="*/ 6319687 w 9501499"/>
              <a:gd name="connsiteY22" fmla="*/ 3043824 h 4164902"/>
              <a:gd name="connsiteX23" fmla="*/ 5793594 w 9501499"/>
              <a:gd name="connsiteY23" fmla="*/ 2974931 h 4164902"/>
              <a:gd name="connsiteX24" fmla="*/ 4321786 w 9501499"/>
              <a:gd name="connsiteY24" fmla="*/ 2812093 h 4164902"/>
              <a:gd name="connsiteX25" fmla="*/ 4171474 w 9501499"/>
              <a:gd name="connsiteY25" fmla="*/ 2943616 h 4164902"/>
              <a:gd name="connsiteX26" fmla="*/ 4465835 w 9501499"/>
              <a:gd name="connsiteY26" fmla="*/ 2999983 h 4164902"/>
              <a:gd name="connsiteX27" fmla="*/ 3933479 w 9501499"/>
              <a:gd name="connsiteY27" fmla="*/ 2711885 h 4164902"/>
              <a:gd name="connsiteX0" fmla="*/ 0 w 9560696"/>
              <a:gd name="connsiteY0" fmla="*/ 4164902 h 4164902"/>
              <a:gd name="connsiteX1" fmla="*/ 2655824 w 9560696"/>
              <a:gd name="connsiteY1" fmla="*/ 3739019 h 4164902"/>
              <a:gd name="connsiteX2" fmla="*/ 4321786 w 9560696"/>
              <a:gd name="connsiteY2" fmla="*/ 2774515 h 4164902"/>
              <a:gd name="connsiteX3" fmla="*/ 4553517 w 9560696"/>
              <a:gd name="connsiteY3" fmla="*/ 2254685 h 4164902"/>
              <a:gd name="connsiteX4" fmla="*/ 4685041 w 9560696"/>
              <a:gd name="connsiteY4" fmla="*/ 1803748 h 4164902"/>
              <a:gd name="connsiteX5" fmla="*/ 5098400 w 9560696"/>
              <a:gd name="connsiteY5" fmla="*/ 1108553 h 4164902"/>
              <a:gd name="connsiteX6" fmla="*/ 5380235 w 9560696"/>
              <a:gd name="connsiteY6" fmla="*/ 770350 h 4164902"/>
              <a:gd name="connsiteX7" fmla="*/ 5530548 w 9560696"/>
              <a:gd name="connsiteY7" fmla="*/ 632564 h 4164902"/>
              <a:gd name="connsiteX8" fmla="*/ 5994011 w 9560696"/>
              <a:gd name="connsiteY8" fmla="*/ 319413 h 4164902"/>
              <a:gd name="connsiteX9" fmla="*/ 6513841 w 9560696"/>
              <a:gd name="connsiteY9" fmla="*/ 112734 h 4164902"/>
              <a:gd name="connsiteX10" fmla="*/ 6758098 w 9560696"/>
              <a:gd name="connsiteY10" fmla="*/ 43841 h 4164902"/>
              <a:gd name="connsiteX11" fmla="*/ 7221561 w 9560696"/>
              <a:gd name="connsiteY11" fmla="*/ 0 h 4164902"/>
              <a:gd name="connsiteX12" fmla="*/ 7829074 w 9560696"/>
              <a:gd name="connsiteY12" fmla="*/ 31315 h 4164902"/>
              <a:gd name="connsiteX13" fmla="*/ 8073331 w 9560696"/>
              <a:gd name="connsiteY13" fmla="*/ 93945 h 4164902"/>
              <a:gd name="connsiteX14" fmla="*/ 8280011 w 9560696"/>
              <a:gd name="connsiteY14" fmla="*/ 169101 h 4164902"/>
              <a:gd name="connsiteX15" fmla="*/ 8668317 w 9560696"/>
              <a:gd name="connsiteY15" fmla="*/ 375781 h 4164902"/>
              <a:gd name="connsiteX16" fmla="*/ 9112991 w 9560696"/>
              <a:gd name="connsiteY16" fmla="*/ 751561 h 4164902"/>
              <a:gd name="connsiteX17" fmla="*/ 9357249 w 9560696"/>
              <a:gd name="connsiteY17" fmla="*/ 1240076 h 4164902"/>
              <a:gd name="connsiteX18" fmla="*/ 9401090 w 9560696"/>
              <a:gd name="connsiteY18" fmla="*/ 1791222 h 4164902"/>
              <a:gd name="connsiteX19" fmla="*/ 9394827 w 9560696"/>
              <a:gd name="connsiteY19" fmla="*/ 2035479 h 4164902"/>
              <a:gd name="connsiteX20" fmla="*/ 7183983 w 9560696"/>
              <a:gd name="connsiteY20" fmla="*/ 3106455 h 4164902"/>
              <a:gd name="connsiteX21" fmla="*/ 6319687 w 9560696"/>
              <a:gd name="connsiteY21" fmla="*/ 3043824 h 4164902"/>
              <a:gd name="connsiteX22" fmla="*/ 5793594 w 9560696"/>
              <a:gd name="connsiteY22" fmla="*/ 2974931 h 4164902"/>
              <a:gd name="connsiteX23" fmla="*/ 4321786 w 9560696"/>
              <a:gd name="connsiteY23" fmla="*/ 2812093 h 4164902"/>
              <a:gd name="connsiteX24" fmla="*/ 4171474 w 9560696"/>
              <a:gd name="connsiteY24" fmla="*/ 2943616 h 4164902"/>
              <a:gd name="connsiteX25" fmla="*/ 4465835 w 9560696"/>
              <a:gd name="connsiteY25" fmla="*/ 2999983 h 4164902"/>
              <a:gd name="connsiteX26" fmla="*/ 3933479 w 9560696"/>
              <a:gd name="connsiteY26" fmla="*/ 2711885 h 4164902"/>
              <a:gd name="connsiteX0" fmla="*/ 0 w 9434827"/>
              <a:gd name="connsiteY0" fmla="*/ 4164902 h 4164902"/>
              <a:gd name="connsiteX1" fmla="*/ 2655824 w 9434827"/>
              <a:gd name="connsiteY1" fmla="*/ 3739019 h 4164902"/>
              <a:gd name="connsiteX2" fmla="*/ 4321786 w 9434827"/>
              <a:gd name="connsiteY2" fmla="*/ 2774515 h 4164902"/>
              <a:gd name="connsiteX3" fmla="*/ 4553517 w 9434827"/>
              <a:gd name="connsiteY3" fmla="*/ 2254685 h 4164902"/>
              <a:gd name="connsiteX4" fmla="*/ 4685041 w 9434827"/>
              <a:gd name="connsiteY4" fmla="*/ 1803748 h 4164902"/>
              <a:gd name="connsiteX5" fmla="*/ 5098400 w 9434827"/>
              <a:gd name="connsiteY5" fmla="*/ 1108553 h 4164902"/>
              <a:gd name="connsiteX6" fmla="*/ 5380235 w 9434827"/>
              <a:gd name="connsiteY6" fmla="*/ 770350 h 4164902"/>
              <a:gd name="connsiteX7" fmla="*/ 5530548 w 9434827"/>
              <a:gd name="connsiteY7" fmla="*/ 632564 h 4164902"/>
              <a:gd name="connsiteX8" fmla="*/ 5994011 w 9434827"/>
              <a:gd name="connsiteY8" fmla="*/ 319413 h 4164902"/>
              <a:gd name="connsiteX9" fmla="*/ 6513841 w 9434827"/>
              <a:gd name="connsiteY9" fmla="*/ 112734 h 4164902"/>
              <a:gd name="connsiteX10" fmla="*/ 6758098 w 9434827"/>
              <a:gd name="connsiteY10" fmla="*/ 43841 h 4164902"/>
              <a:gd name="connsiteX11" fmla="*/ 7221561 w 9434827"/>
              <a:gd name="connsiteY11" fmla="*/ 0 h 4164902"/>
              <a:gd name="connsiteX12" fmla="*/ 7829074 w 9434827"/>
              <a:gd name="connsiteY12" fmla="*/ 31315 h 4164902"/>
              <a:gd name="connsiteX13" fmla="*/ 8073331 w 9434827"/>
              <a:gd name="connsiteY13" fmla="*/ 93945 h 4164902"/>
              <a:gd name="connsiteX14" fmla="*/ 8280011 w 9434827"/>
              <a:gd name="connsiteY14" fmla="*/ 169101 h 4164902"/>
              <a:gd name="connsiteX15" fmla="*/ 8668317 w 9434827"/>
              <a:gd name="connsiteY15" fmla="*/ 375781 h 4164902"/>
              <a:gd name="connsiteX16" fmla="*/ 9112991 w 9434827"/>
              <a:gd name="connsiteY16" fmla="*/ 751561 h 4164902"/>
              <a:gd name="connsiteX17" fmla="*/ 9357249 w 9434827"/>
              <a:gd name="connsiteY17" fmla="*/ 1240076 h 4164902"/>
              <a:gd name="connsiteX18" fmla="*/ 9401090 w 9434827"/>
              <a:gd name="connsiteY18" fmla="*/ 1791222 h 4164902"/>
              <a:gd name="connsiteX19" fmla="*/ 8879025 w 9434827"/>
              <a:gd name="connsiteY19" fmla="*/ 2907829 h 4164902"/>
              <a:gd name="connsiteX20" fmla="*/ 7183983 w 9434827"/>
              <a:gd name="connsiteY20" fmla="*/ 3106455 h 4164902"/>
              <a:gd name="connsiteX21" fmla="*/ 6319687 w 9434827"/>
              <a:gd name="connsiteY21" fmla="*/ 3043824 h 4164902"/>
              <a:gd name="connsiteX22" fmla="*/ 5793594 w 9434827"/>
              <a:gd name="connsiteY22" fmla="*/ 2974931 h 4164902"/>
              <a:gd name="connsiteX23" fmla="*/ 4321786 w 9434827"/>
              <a:gd name="connsiteY23" fmla="*/ 2812093 h 4164902"/>
              <a:gd name="connsiteX24" fmla="*/ 4171474 w 9434827"/>
              <a:gd name="connsiteY24" fmla="*/ 2943616 h 4164902"/>
              <a:gd name="connsiteX25" fmla="*/ 4465835 w 9434827"/>
              <a:gd name="connsiteY25" fmla="*/ 2999983 h 4164902"/>
              <a:gd name="connsiteX26" fmla="*/ 3933479 w 9434827"/>
              <a:gd name="connsiteY26" fmla="*/ 2711885 h 4164902"/>
              <a:gd name="connsiteX0" fmla="*/ 0 w 9405946"/>
              <a:gd name="connsiteY0" fmla="*/ 4164902 h 4164902"/>
              <a:gd name="connsiteX1" fmla="*/ 2655824 w 9405946"/>
              <a:gd name="connsiteY1" fmla="*/ 3739019 h 4164902"/>
              <a:gd name="connsiteX2" fmla="*/ 4321786 w 9405946"/>
              <a:gd name="connsiteY2" fmla="*/ 2774515 h 4164902"/>
              <a:gd name="connsiteX3" fmla="*/ 4553517 w 9405946"/>
              <a:gd name="connsiteY3" fmla="*/ 2254685 h 4164902"/>
              <a:gd name="connsiteX4" fmla="*/ 4685041 w 9405946"/>
              <a:gd name="connsiteY4" fmla="*/ 1803748 h 4164902"/>
              <a:gd name="connsiteX5" fmla="*/ 5098400 w 9405946"/>
              <a:gd name="connsiteY5" fmla="*/ 1108553 h 4164902"/>
              <a:gd name="connsiteX6" fmla="*/ 5380235 w 9405946"/>
              <a:gd name="connsiteY6" fmla="*/ 770350 h 4164902"/>
              <a:gd name="connsiteX7" fmla="*/ 5530548 w 9405946"/>
              <a:gd name="connsiteY7" fmla="*/ 632564 h 4164902"/>
              <a:gd name="connsiteX8" fmla="*/ 5994011 w 9405946"/>
              <a:gd name="connsiteY8" fmla="*/ 319413 h 4164902"/>
              <a:gd name="connsiteX9" fmla="*/ 6513841 w 9405946"/>
              <a:gd name="connsiteY9" fmla="*/ 112734 h 4164902"/>
              <a:gd name="connsiteX10" fmla="*/ 6758098 w 9405946"/>
              <a:gd name="connsiteY10" fmla="*/ 43841 h 4164902"/>
              <a:gd name="connsiteX11" fmla="*/ 7221561 w 9405946"/>
              <a:gd name="connsiteY11" fmla="*/ 0 h 4164902"/>
              <a:gd name="connsiteX12" fmla="*/ 7829074 w 9405946"/>
              <a:gd name="connsiteY12" fmla="*/ 31315 h 4164902"/>
              <a:gd name="connsiteX13" fmla="*/ 8073331 w 9405946"/>
              <a:gd name="connsiteY13" fmla="*/ 93945 h 4164902"/>
              <a:gd name="connsiteX14" fmla="*/ 8280011 w 9405946"/>
              <a:gd name="connsiteY14" fmla="*/ 169101 h 4164902"/>
              <a:gd name="connsiteX15" fmla="*/ 8668317 w 9405946"/>
              <a:gd name="connsiteY15" fmla="*/ 375781 h 4164902"/>
              <a:gd name="connsiteX16" fmla="*/ 9112991 w 9405946"/>
              <a:gd name="connsiteY16" fmla="*/ 751561 h 4164902"/>
              <a:gd name="connsiteX17" fmla="*/ 9401090 w 9405946"/>
              <a:gd name="connsiteY17" fmla="*/ 1791222 h 4164902"/>
              <a:gd name="connsiteX18" fmla="*/ 8879025 w 9405946"/>
              <a:gd name="connsiteY18" fmla="*/ 2907829 h 4164902"/>
              <a:gd name="connsiteX19" fmla="*/ 7183983 w 9405946"/>
              <a:gd name="connsiteY19" fmla="*/ 3106455 h 4164902"/>
              <a:gd name="connsiteX20" fmla="*/ 6319687 w 9405946"/>
              <a:gd name="connsiteY20" fmla="*/ 3043824 h 4164902"/>
              <a:gd name="connsiteX21" fmla="*/ 5793594 w 9405946"/>
              <a:gd name="connsiteY21" fmla="*/ 2974931 h 4164902"/>
              <a:gd name="connsiteX22" fmla="*/ 4321786 w 9405946"/>
              <a:gd name="connsiteY22" fmla="*/ 2812093 h 4164902"/>
              <a:gd name="connsiteX23" fmla="*/ 4171474 w 9405946"/>
              <a:gd name="connsiteY23" fmla="*/ 2943616 h 4164902"/>
              <a:gd name="connsiteX24" fmla="*/ 4465835 w 9405946"/>
              <a:gd name="connsiteY24" fmla="*/ 2999983 h 4164902"/>
              <a:gd name="connsiteX25" fmla="*/ 3933479 w 9405946"/>
              <a:gd name="connsiteY25" fmla="*/ 2711885 h 4164902"/>
              <a:gd name="connsiteX0" fmla="*/ 0 w 9407634"/>
              <a:gd name="connsiteY0" fmla="*/ 4164902 h 4164902"/>
              <a:gd name="connsiteX1" fmla="*/ 2655824 w 9407634"/>
              <a:gd name="connsiteY1" fmla="*/ 3739019 h 4164902"/>
              <a:gd name="connsiteX2" fmla="*/ 4321786 w 9407634"/>
              <a:gd name="connsiteY2" fmla="*/ 2774515 h 4164902"/>
              <a:gd name="connsiteX3" fmla="*/ 4553517 w 9407634"/>
              <a:gd name="connsiteY3" fmla="*/ 2254685 h 4164902"/>
              <a:gd name="connsiteX4" fmla="*/ 4685041 w 9407634"/>
              <a:gd name="connsiteY4" fmla="*/ 1803748 h 4164902"/>
              <a:gd name="connsiteX5" fmla="*/ 5098400 w 9407634"/>
              <a:gd name="connsiteY5" fmla="*/ 1108553 h 4164902"/>
              <a:gd name="connsiteX6" fmla="*/ 5380235 w 9407634"/>
              <a:gd name="connsiteY6" fmla="*/ 770350 h 4164902"/>
              <a:gd name="connsiteX7" fmla="*/ 5530548 w 9407634"/>
              <a:gd name="connsiteY7" fmla="*/ 632564 h 4164902"/>
              <a:gd name="connsiteX8" fmla="*/ 5994011 w 9407634"/>
              <a:gd name="connsiteY8" fmla="*/ 319413 h 4164902"/>
              <a:gd name="connsiteX9" fmla="*/ 6513841 w 9407634"/>
              <a:gd name="connsiteY9" fmla="*/ 112734 h 4164902"/>
              <a:gd name="connsiteX10" fmla="*/ 6758098 w 9407634"/>
              <a:gd name="connsiteY10" fmla="*/ 43841 h 4164902"/>
              <a:gd name="connsiteX11" fmla="*/ 7221561 w 9407634"/>
              <a:gd name="connsiteY11" fmla="*/ 0 h 4164902"/>
              <a:gd name="connsiteX12" fmla="*/ 7829074 w 9407634"/>
              <a:gd name="connsiteY12" fmla="*/ 31315 h 4164902"/>
              <a:gd name="connsiteX13" fmla="*/ 8073331 w 9407634"/>
              <a:gd name="connsiteY13" fmla="*/ 93945 h 4164902"/>
              <a:gd name="connsiteX14" fmla="*/ 8280011 w 9407634"/>
              <a:gd name="connsiteY14" fmla="*/ 169101 h 4164902"/>
              <a:gd name="connsiteX15" fmla="*/ 9112991 w 9407634"/>
              <a:gd name="connsiteY15" fmla="*/ 751561 h 4164902"/>
              <a:gd name="connsiteX16" fmla="*/ 9401090 w 9407634"/>
              <a:gd name="connsiteY16" fmla="*/ 1791222 h 4164902"/>
              <a:gd name="connsiteX17" fmla="*/ 8879025 w 9407634"/>
              <a:gd name="connsiteY17" fmla="*/ 2907829 h 4164902"/>
              <a:gd name="connsiteX18" fmla="*/ 7183983 w 9407634"/>
              <a:gd name="connsiteY18" fmla="*/ 3106455 h 4164902"/>
              <a:gd name="connsiteX19" fmla="*/ 6319687 w 9407634"/>
              <a:gd name="connsiteY19" fmla="*/ 3043824 h 4164902"/>
              <a:gd name="connsiteX20" fmla="*/ 5793594 w 9407634"/>
              <a:gd name="connsiteY20" fmla="*/ 2974931 h 4164902"/>
              <a:gd name="connsiteX21" fmla="*/ 4321786 w 9407634"/>
              <a:gd name="connsiteY21" fmla="*/ 2812093 h 4164902"/>
              <a:gd name="connsiteX22" fmla="*/ 4171474 w 9407634"/>
              <a:gd name="connsiteY22" fmla="*/ 2943616 h 4164902"/>
              <a:gd name="connsiteX23" fmla="*/ 4465835 w 9407634"/>
              <a:gd name="connsiteY23" fmla="*/ 2999983 h 4164902"/>
              <a:gd name="connsiteX24" fmla="*/ 3933479 w 9407634"/>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18350 w 9409039"/>
              <a:gd name="connsiteY13" fmla="*/ 74773 h 4164902"/>
              <a:gd name="connsiteX14" fmla="*/ 8073331 w 9409039"/>
              <a:gd name="connsiteY14" fmla="*/ 93945 h 4164902"/>
              <a:gd name="connsiteX15" fmla="*/ 9112991 w 9409039"/>
              <a:gd name="connsiteY15" fmla="*/ 751561 h 4164902"/>
              <a:gd name="connsiteX16" fmla="*/ 9401090 w 9409039"/>
              <a:gd name="connsiteY16" fmla="*/ 1791222 h 4164902"/>
              <a:gd name="connsiteX17" fmla="*/ 8879025 w 9409039"/>
              <a:gd name="connsiteY17" fmla="*/ 2907829 h 4164902"/>
              <a:gd name="connsiteX18" fmla="*/ 7183983 w 9409039"/>
              <a:gd name="connsiteY18" fmla="*/ 3106455 h 4164902"/>
              <a:gd name="connsiteX19" fmla="*/ 6319687 w 9409039"/>
              <a:gd name="connsiteY19" fmla="*/ 3043824 h 4164902"/>
              <a:gd name="connsiteX20" fmla="*/ 5793594 w 9409039"/>
              <a:gd name="connsiteY20" fmla="*/ 2974931 h 4164902"/>
              <a:gd name="connsiteX21" fmla="*/ 4321786 w 9409039"/>
              <a:gd name="connsiteY21" fmla="*/ 2812093 h 4164902"/>
              <a:gd name="connsiteX22" fmla="*/ 4171474 w 9409039"/>
              <a:gd name="connsiteY22" fmla="*/ 2943616 h 4164902"/>
              <a:gd name="connsiteX23" fmla="*/ 4465835 w 9409039"/>
              <a:gd name="connsiteY23" fmla="*/ 2999983 h 4164902"/>
              <a:gd name="connsiteX24" fmla="*/ 3933479 w 9409039"/>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8018350 w 9409039"/>
              <a:gd name="connsiteY12" fmla="*/ 74773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502"/>
              <a:gd name="connsiteY0" fmla="*/ 4172857 h 4172857"/>
              <a:gd name="connsiteX1" fmla="*/ 2655824 w 9409502"/>
              <a:gd name="connsiteY1" fmla="*/ 3746974 h 4172857"/>
              <a:gd name="connsiteX2" fmla="*/ 4321786 w 9409502"/>
              <a:gd name="connsiteY2" fmla="*/ 2782470 h 4172857"/>
              <a:gd name="connsiteX3" fmla="*/ 4553517 w 9409502"/>
              <a:gd name="connsiteY3" fmla="*/ 2262640 h 4172857"/>
              <a:gd name="connsiteX4" fmla="*/ 4685041 w 9409502"/>
              <a:gd name="connsiteY4" fmla="*/ 1811703 h 4172857"/>
              <a:gd name="connsiteX5" fmla="*/ 5098400 w 9409502"/>
              <a:gd name="connsiteY5" fmla="*/ 1116508 h 4172857"/>
              <a:gd name="connsiteX6" fmla="*/ 5380235 w 9409502"/>
              <a:gd name="connsiteY6" fmla="*/ 778305 h 4172857"/>
              <a:gd name="connsiteX7" fmla="*/ 5530548 w 9409502"/>
              <a:gd name="connsiteY7" fmla="*/ 640519 h 4172857"/>
              <a:gd name="connsiteX8" fmla="*/ 5994011 w 9409502"/>
              <a:gd name="connsiteY8" fmla="*/ 327368 h 4172857"/>
              <a:gd name="connsiteX9" fmla="*/ 6513841 w 9409502"/>
              <a:gd name="connsiteY9" fmla="*/ 120689 h 4172857"/>
              <a:gd name="connsiteX10" fmla="*/ 6758098 w 9409502"/>
              <a:gd name="connsiteY10" fmla="*/ 51796 h 4172857"/>
              <a:gd name="connsiteX11" fmla="*/ 7221561 w 9409502"/>
              <a:gd name="connsiteY11" fmla="*/ 7955 h 4172857"/>
              <a:gd name="connsiteX12" fmla="*/ 8018350 w 9409502"/>
              <a:gd name="connsiteY12" fmla="*/ 82728 h 4172857"/>
              <a:gd name="connsiteX13" fmla="*/ 9112991 w 9409502"/>
              <a:gd name="connsiteY13" fmla="*/ 759516 h 4172857"/>
              <a:gd name="connsiteX14" fmla="*/ 9401090 w 9409502"/>
              <a:gd name="connsiteY14" fmla="*/ 1799177 h 4172857"/>
              <a:gd name="connsiteX15" fmla="*/ 8879025 w 9409502"/>
              <a:gd name="connsiteY15" fmla="*/ 2915784 h 4172857"/>
              <a:gd name="connsiteX16" fmla="*/ 7183983 w 9409502"/>
              <a:gd name="connsiteY16" fmla="*/ 3114410 h 4172857"/>
              <a:gd name="connsiteX17" fmla="*/ 6319687 w 9409502"/>
              <a:gd name="connsiteY17" fmla="*/ 3051779 h 4172857"/>
              <a:gd name="connsiteX18" fmla="*/ 5793594 w 9409502"/>
              <a:gd name="connsiteY18" fmla="*/ 2982886 h 4172857"/>
              <a:gd name="connsiteX19" fmla="*/ 4321786 w 9409502"/>
              <a:gd name="connsiteY19" fmla="*/ 2820048 h 4172857"/>
              <a:gd name="connsiteX20" fmla="*/ 4171474 w 9409502"/>
              <a:gd name="connsiteY20" fmla="*/ 2951571 h 4172857"/>
              <a:gd name="connsiteX21" fmla="*/ 4465835 w 9409502"/>
              <a:gd name="connsiteY21" fmla="*/ 3007938 h 4172857"/>
              <a:gd name="connsiteX22" fmla="*/ 3933479 w 9409502"/>
              <a:gd name="connsiteY22" fmla="*/ 2719840 h 4172857"/>
              <a:gd name="connsiteX0" fmla="*/ 0 w 9409105"/>
              <a:gd name="connsiteY0" fmla="*/ 4172858 h 4172858"/>
              <a:gd name="connsiteX1" fmla="*/ 2655824 w 9409105"/>
              <a:gd name="connsiteY1" fmla="*/ 3746975 h 4172858"/>
              <a:gd name="connsiteX2" fmla="*/ 4321786 w 9409105"/>
              <a:gd name="connsiteY2" fmla="*/ 2782471 h 4172858"/>
              <a:gd name="connsiteX3" fmla="*/ 4553517 w 9409105"/>
              <a:gd name="connsiteY3" fmla="*/ 2262641 h 4172858"/>
              <a:gd name="connsiteX4" fmla="*/ 4685041 w 9409105"/>
              <a:gd name="connsiteY4" fmla="*/ 1811704 h 4172858"/>
              <a:gd name="connsiteX5" fmla="*/ 5098400 w 9409105"/>
              <a:gd name="connsiteY5" fmla="*/ 1116509 h 4172858"/>
              <a:gd name="connsiteX6" fmla="*/ 5380235 w 9409105"/>
              <a:gd name="connsiteY6" fmla="*/ 778306 h 4172858"/>
              <a:gd name="connsiteX7" fmla="*/ 5530548 w 9409105"/>
              <a:gd name="connsiteY7" fmla="*/ 640520 h 4172858"/>
              <a:gd name="connsiteX8" fmla="*/ 5994011 w 9409105"/>
              <a:gd name="connsiteY8" fmla="*/ 327369 h 4172858"/>
              <a:gd name="connsiteX9" fmla="*/ 6513841 w 9409105"/>
              <a:gd name="connsiteY9" fmla="*/ 120690 h 4172858"/>
              <a:gd name="connsiteX10" fmla="*/ 6758098 w 9409105"/>
              <a:gd name="connsiteY10" fmla="*/ 51797 h 4172858"/>
              <a:gd name="connsiteX11" fmla="*/ 7221561 w 9409105"/>
              <a:gd name="connsiteY11" fmla="*/ 7956 h 4172858"/>
              <a:gd name="connsiteX12" fmla="*/ 8018350 w 9409105"/>
              <a:gd name="connsiteY12" fmla="*/ 82729 h 4172858"/>
              <a:gd name="connsiteX13" fmla="*/ 8065240 w 9409105"/>
              <a:gd name="connsiteY13" fmla="*/ 99347 h 4172858"/>
              <a:gd name="connsiteX14" fmla="*/ 9112991 w 9409105"/>
              <a:gd name="connsiteY14" fmla="*/ 759517 h 4172858"/>
              <a:gd name="connsiteX15" fmla="*/ 9401090 w 9409105"/>
              <a:gd name="connsiteY15" fmla="*/ 1799178 h 4172858"/>
              <a:gd name="connsiteX16" fmla="*/ 8879025 w 9409105"/>
              <a:gd name="connsiteY16" fmla="*/ 2915785 h 4172858"/>
              <a:gd name="connsiteX17" fmla="*/ 7183983 w 9409105"/>
              <a:gd name="connsiteY17" fmla="*/ 3114411 h 4172858"/>
              <a:gd name="connsiteX18" fmla="*/ 6319687 w 9409105"/>
              <a:gd name="connsiteY18" fmla="*/ 3051780 h 4172858"/>
              <a:gd name="connsiteX19" fmla="*/ 5793594 w 9409105"/>
              <a:gd name="connsiteY19" fmla="*/ 2982887 h 4172858"/>
              <a:gd name="connsiteX20" fmla="*/ 4321786 w 9409105"/>
              <a:gd name="connsiteY20" fmla="*/ 2820049 h 4172858"/>
              <a:gd name="connsiteX21" fmla="*/ 4171474 w 9409105"/>
              <a:gd name="connsiteY21" fmla="*/ 2951572 h 4172858"/>
              <a:gd name="connsiteX22" fmla="*/ 4465835 w 9409105"/>
              <a:gd name="connsiteY22" fmla="*/ 3007939 h 4172858"/>
              <a:gd name="connsiteX23" fmla="*/ 3933479 w 9409105"/>
              <a:gd name="connsiteY23" fmla="*/ 2719841 h 4172858"/>
              <a:gd name="connsiteX0" fmla="*/ 0 w 9409502"/>
              <a:gd name="connsiteY0" fmla="*/ 4172858 h 4172858"/>
              <a:gd name="connsiteX1" fmla="*/ 2655824 w 9409502"/>
              <a:gd name="connsiteY1" fmla="*/ 3746975 h 4172858"/>
              <a:gd name="connsiteX2" fmla="*/ 4321786 w 9409502"/>
              <a:gd name="connsiteY2" fmla="*/ 2782471 h 4172858"/>
              <a:gd name="connsiteX3" fmla="*/ 4553517 w 9409502"/>
              <a:gd name="connsiteY3" fmla="*/ 2262641 h 4172858"/>
              <a:gd name="connsiteX4" fmla="*/ 4685041 w 9409502"/>
              <a:gd name="connsiteY4" fmla="*/ 1811704 h 4172858"/>
              <a:gd name="connsiteX5" fmla="*/ 5098400 w 9409502"/>
              <a:gd name="connsiteY5" fmla="*/ 1116509 h 4172858"/>
              <a:gd name="connsiteX6" fmla="*/ 5380235 w 9409502"/>
              <a:gd name="connsiteY6" fmla="*/ 778306 h 4172858"/>
              <a:gd name="connsiteX7" fmla="*/ 5530548 w 9409502"/>
              <a:gd name="connsiteY7" fmla="*/ 640520 h 4172858"/>
              <a:gd name="connsiteX8" fmla="*/ 5994011 w 9409502"/>
              <a:gd name="connsiteY8" fmla="*/ 327369 h 4172858"/>
              <a:gd name="connsiteX9" fmla="*/ 6513841 w 9409502"/>
              <a:gd name="connsiteY9" fmla="*/ 120690 h 4172858"/>
              <a:gd name="connsiteX10" fmla="*/ 6758098 w 9409502"/>
              <a:gd name="connsiteY10" fmla="*/ 51797 h 4172858"/>
              <a:gd name="connsiteX11" fmla="*/ 7221561 w 9409502"/>
              <a:gd name="connsiteY11" fmla="*/ 7956 h 4172858"/>
              <a:gd name="connsiteX12" fmla="*/ 8018350 w 9409502"/>
              <a:gd name="connsiteY12" fmla="*/ 82729 h 4172858"/>
              <a:gd name="connsiteX13" fmla="*/ 9112991 w 9409502"/>
              <a:gd name="connsiteY13" fmla="*/ 759517 h 4172858"/>
              <a:gd name="connsiteX14" fmla="*/ 9401090 w 9409502"/>
              <a:gd name="connsiteY14" fmla="*/ 1799178 h 4172858"/>
              <a:gd name="connsiteX15" fmla="*/ 8879025 w 9409502"/>
              <a:gd name="connsiteY15" fmla="*/ 2915785 h 4172858"/>
              <a:gd name="connsiteX16" fmla="*/ 7183983 w 9409502"/>
              <a:gd name="connsiteY16" fmla="*/ 3114411 h 4172858"/>
              <a:gd name="connsiteX17" fmla="*/ 6319687 w 9409502"/>
              <a:gd name="connsiteY17" fmla="*/ 3051780 h 4172858"/>
              <a:gd name="connsiteX18" fmla="*/ 5793594 w 9409502"/>
              <a:gd name="connsiteY18" fmla="*/ 2982887 h 4172858"/>
              <a:gd name="connsiteX19" fmla="*/ 4321786 w 9409502"/>
              <a:gd name="connsiteY19" fmla="*/ 2820049 h 4172858"/>
              <a:gd name="connsiteX20" fmla="*/ 4171474 w 9409502"/>
              <a:gd name="connsiteY20" fmla="*/ 2951572 h 4172858"/>
              <a:gd name="connsiteX21" fmla="*/ 4465835 w 9409502"/>
              <a:gd name="connsiteY21" fmla="*/ 3007939 h 4172858"/>
              <a:gd name="connsiteX22" fmla="*/ 3933479 w 9409502"/>
              <a:gd name="connsiteY22" fmla="*/ 2719841 h 4172858"/>
              <a:gd name="connsiteX0" fmla="*/ 0 w 9424727"/>
              <a:gd name="connsiteY0" fmla="*/ 4164903 h 4164903"/>
              <a:gd name="connsiteX1" fmla="*/ 2655824 w 9424727"/>
              <a:gd name="connsiteY1" fmla="*/ 3739020 h 4164903"/>
              <a:gd name="connsiteX2" fmla="*/ 4321786 w 9424727"/>
              <a:gd name="connsiteY2" fmla="*/ 2774516 h 4164903"/>
              <a:gd name="connsiteX3" fmla="*/ 4553517 w 9424727"/>
              <a:gd name="connsiteY3" fmla="*/ 2254686 h 4164903"/>
              <a:gd name="connsiteX4" fmla="*/ 4685041 w 9424727"/>
              <a:gd name="connsiteY4" fmla="*/ 1803749 h 4164903"/>
              <a:gd name="connsiteX5" fmla="*/ 5098400 w 9424727"/>
              <a:gd name="connsiteY5" fmla="*/ 1108554 h 4164903"/>
              <a:gd name="connsiteX6" fmla="*/ 5380235 w 9424727"/>
              <a:gd name="connsiteY6" fmla="*/ 770351 h 4164903"/>
              <a:gd name="connsiteX7" fmla="*/ 5530548 w 9424727"/>
              <a:gd name="connsiteY7" fmla="*/ 632565 h 4164903"/>
              <a:gd name="connsiteX8" fmla="*/ 5994011 w 9424727"/>
              <a:gd name="connsiteY8" fmla="*/ 319414 h 4164903"/>
              <a:gd name="connsiteX9" fmla="*/ 6513841 w 9424727"/>
              <a:gd name="connsiteY9" fmla="*/ 112735 h 4164903"/>
              <a:gd name="connsiteX10" fmla="*/ 6758098 w 9424727"/>
              <a:gd name="connsiteY10" fmla="*/ 43842 h 4164903"/>
              <a:gd name="connsiteX11" fmla="*/ 7221561 w 9424727"/>
              <a:gd name="connsiteY11" fmla="*/ 1 h 4164903"/>
              <a:gd name="connsiteX12" fmla="*/ 9112991 w 9424727"/>
              <a:gd name="connsiteY12" fmla="*/ 751562 h 4164903"/>
              <a:gd name="connsiteX13" fmla="*/ 9401090 w 9424727"/>
              <a:gd name="connsiteY13" fmla="*/ 1791223 h 4164903"/>
              <a:gd name="connsiteX14" fmla="*/ 8879025 w 9424727"/>
              <a:gd name="connsiteY14" fmla="*/ 2907830 h 4164903"/>
              <a:gd name="connsiteX15" fmla="*/ 7183983 w 9424727"/>
              <a:gd name="connsiteY15" fmla="*/ 3106456 h 4164903"/>
              <a:gd name="connsiteX16" fmla="*/ 6319687 w 9424727"/>
              <a:gd name="connsiteY16" fmla="*/ 3043825 h 4164903"/>
              <a:gd name="connsiteX17" fmla="*/ 5793594 w 9424727"/>
              <a:gd name="connsiteY17" fmla="*/ 2974932 h 4164903"/>
              <a:gd name="connsiteX18" fmla="*/ 4321786 w 9424727"/>
              <a:gd name="connsiteY18" fmla="*/ 2812094 h 4164903"/>
              <a:gd name="connsiteX19" fmla="*/ 4171474 w 9424727"/>
              <a:gd name="connsiteY19" fmla="*/ 2943617 h 4164903"/>
              <a:gd name="connsiteX20" fmla="*/ 4465835 w 9424727"/>
              <a:gd name="connsiteY20" fmla="*/ 2999984 h 4164903"/>
              <a:gd name="connsiteX21" fmla="*/ 3933479 w 9424727"/>
              <a:gd name="connsiteY21" fmla="*/ 2711886 h 4164903"/>
              <a:gd name="connsiteX0" fmla="*/ 0 w 9424727"/>
              <a:gd name="connsiteY0" fmla="*/ 4199826 h 4199826"/>
              <a:gd name="connsiteX1" fmla="*/ 2655824 w 9424727"/>
              <a:gd name="connsiteY1" fmla="*/ 3773943 h 4199826"/>
              <a:gd name="connsiteX2" fmla="*/ 4321786 w 9424727"/>
              <a:gd name="connsiteY2" fmla="*/ 2809439 h 4199826"/>
              <a:gd name="connsiteX3" fmla="*/ 4553517 w 9424727"/>
              <a:gd name="connsiteY3" fmla="*/ 2289609 h 4199826"/>
              <a:gd name="connsiteX4" fmla="*/ 4685041 w 9424727"/>
              <a:gd name="connsiteY4" fmla="*/ 1838672 h 4199826"/>
              <a:gd name="connsiteX5" fmla="*/ 5098400 w 9424727"/>
              <a:gd name="connsiteY5" fmla="*/ 1143477 h 4199826"/>
              <a:gd name="connsiteX6" fmla="*/ 5380235 w 9424727"/>
              <a:gd name="connsiteY6" fmla="*/ 805274 h 4199826"/>
              <a:gd name="connsiteX7" fmla="*/ 5530548 w 9424727"/>
              <a:gd name="connsiteY7" fmla="*/ 667488 h 4199826"/>
              <a:gd name="connsiteX8" fmla="*/ 5994011 w 9424727"/>
              <a:gd name="connsiteY8" fmla="*/ 354337 h 4199826"/>
              <a:gd name="connsiteX9" fmla="*/ 6513841 w 9424727"/>
              <a:gd name="connsiteY9" fmla="*/ 147658 h 4199826"/>
              <a:gd name="connsiteX10" fmla="*/ 7221561 w 9424727"/>
              <a:gd name="connsiteY10" fmla="*/ 34924 h 4199826"/>
              <a:gd name="connsiteX11" fmla="*/ 9112991 w 9424727"/>
              <a:gd name="connsiteY11" fmla="*/ 786485 h 4199826"/>
              <a:gd name="connsiteX12" fmla="*/ 9401090 w 9424727"/>
              <a:gd name="connsiteY12" fmla="*/ 1826146 h 4199826"/>
              <a:gd name="connsiteX13" fmla="*/ 8879025 w 9424727"/>
              <a:gd name="connsiteY13" fmla="*/ 2942753 h 4199826"/>
              <a:gd name="connsiteX14" fmla="*/ 7183983 w 9424727"/>
              <a:gd name="connsiteY14" fmla="*/ 3141379 h 4199826"/>
              <a:gd name="connsiteX15" fmla="*/ 6319687 w 9424727"/>
              <a:gd name="connsiteY15" fmla="*/ 3078748 h 4199826"/>
              <a:gd name="connsiteX16" fmla="*/ 5793594 w 9424727"/>
              <a:gd name="connsiteY16" fmla="*/ 3009855 h 4199826"/>
              <a:gd name="connsiteX17" fmla="*/ 4321786 w 9424727"/>
              <a:gd name="connsiteY17" fmla="*/ 2847017 h 4199826"/>
              <a:gd name="connsiteX18" fmla="*/ 4171474 w 9424727"/>
              <a:gd name="connsiteY18" fmla="*/ 2978540 h 4199826"/>
              <a:gd name="connsiteX19" fmla="*/ 4465835 w 9424727"/>
              <a:gd name="connsiteY19" fmla="*/ 3034907 h 4199826"/>
              <a:gd name="connsiteX20" fmla="*/ 3933479 w 9424727"/>
              <a:gd name="connsiteY20" fmla="*/ 2746809 h 4199826"/>
              <a:gd name="connsiteX0" fmla="*/ 0 w 9455586"/>
              <a:gd name="connsiteY0" fmla="*/ 4067256 h 4067256"/>
              <a:gd name="connsiteX1" fmla="*/ 2655824 w 9455586"/>
              <a:gd name="connsiteY1" fmla="*/ 3641373 h 4067256"/>
              <a:gd name="connsiteX2" fmla="*/ 4321786 w 9455586"/>
              <a:gd name="connsiteY2" fmla="*/ 2676869 h 4067256"/>
              <a:gd name="connsiteX3" fmla="*/ 4553517 w 9455586"/>
              <a:gd name="connsiteY3" fmla="*/ 2157039 h 4067256"/>
              <a:gd name="connsiteX4" fmla="*/ 4685041 w 9455586"/>
              <a:gd name="connsiteY4" fmla="*/ 1706102 h 4067256"/>
              <a:gd name="connsiteX5" fmla="*/ 5098400 w 9455586"/>
              <a:gd name="connsiteY5" fmla="*/ 1010907 h 4067256"/>
              <a:gd name="connsiteX6" fmla="*/ 5380235 w 9455586"/>
              <a:gd name="connsiteY6" fmla="*/ 672704 h 4067256"/>
              <a:gd name="connsiteX7" fmla="*/ 5530548 w 9455586"/>
              <a:gd name="connsiteY7" fmla="*/ 534918 h 4067256"/>
              <a:gd name="connsiteX8" fmla="*/ 5994011 w 9455586"/>
              <a:gd name="connsiteY8" fmla="*/ 221767 h 4067256"/>
              <a:gd name="connsiteX9" fmla="*/ 6513841 w 9455586"/>
              <a:gd name="connsiteY9" fmla="*/ 15088 h 4067256"/>
              <a:gd name="connsiteX10" fmla="*/ 9112991 w 9455586"/>
              <a:gd name="connsiteY10" fmla="*/ 653915 h 4067256"/>
              <a:gd name="connsiteX11" fmla="*/ 9401090 w 9455586"/>
              <a:gd name="connsiteY11" fmla="*/ 1693576 h 4067256"/>
              <a:gd name="connsiteX12" fmla="*/ 8879025 w 9455586"/>
              <a:gd name="connsiteY12" fmla="*/ 2810183 h 4067256"/>
              <a:gd name="connsiteX13" fmla="*/ 7183983 w 9455586"/>
              <a:gd name="connsiteY13" fmla="*/ 3008809 h 4067256"/>
              <a:gd name="connsiteX14" fmla="*/ 6319687 w 9455586"/>
              <a:gd name="connsiteY14" fmla="*/ 2946178 h 4067256"/>
              <a:gd name="connsiteX15" fmla="*/ 5793594 w 9455586"/>
              <a:gd name="connsiteY15" fmla="*/ 2877285 h 4067256"/>
              <a:gd name="connsiteX16" fmla="*/ 4321786 w 9455586"/>
              <a:gd name="connsiteY16" fmla="*/ 2714447 h 4067256"/>
              <a:gd name="connsiteX17" fmla="*/ 4171474 w 9455586"/>
              <a:gd name="connsiteY17" fmla="*/ 2845970 h 4067256"/>
              <a:gd name="connsiteX18" fmla="*/ 4465835 w 9455586"/>
              <a:gd name="connsiteY18" fmla="*/ 2902337 h 4067256"/>
              <a:gd name="connsiteX19" fmla="*/ 3933479 w 9455586"/>
              <a:gd name="connsiteY19" fmla="*/ 2614239 h 4067256"/>
              <a:gd name="connsiteX0" fmla="*/ 0 w 9537828"/>
              <a:gd name="connsiteY0" fmla="*/ 4133826 h 4133826"/>
              <a:gd name="connsiteX1" fmla="*/ 2655824 w 9537828"/>
              <a:gd name="connsiteY1" fmla="*/ 3707943 h 4133826"/>
              <a:gd name="connsiteX2" fmla="*/ 4321786 w 9537828"/>
              <a:gd name="connsiteY2" fmla="*/ 2743439 h 4133826"/>
              <a:gd name="connsiteX3" fmla="*/ 4553517 w 9537828"/>
              <a:gd name="connsiteY3" fmla="*/ 2223609 h 4133826"/>
              <a:gd name="connsiteX4" fmla="*/ 4685041 w 9537828"/>
              <a:gd name="connsiteY4" fmla="*/ 1772672 h 4133826"/>
              <a:gd name="connsiteX5" fmla="*/ 5098400 w 9537828"/>
              <a:gd name="connsiteY5" fmla="*/ 1077477 h 4133826"/>
              <a:gd name="connsiteX6" fmla="*/ 5380235 w 9537828"/>
              <a:gd name="connsiteY6" fmla="*/ 739274 h 4133826"/>
              <a:gd name="connsiteX7" fmla="*/ 5530548 w 9537828"/>
              <a:gd name="connsiteY7" fmla="*/ 601488 h 4133826"/>
              <a:gd name="connsiteX8" fmla="*/ 5994011 w 9537828"/>
              <a:gd name="connsiteY8" fmla="*/ 288337 h 4133826"/>
              <a:gd name="connsiteX9" fmla="*/ 6513841 w 9537828"/>
              <a:gd name="connsiteY9" fmla="*/ 81658 h 4133826"/>
              <a:gd name="connsiteX10" fmla="*/ 9401090 w 9537828"/>
              <a:gd name="connsiteY10" fmla="*/ 1760146 h 4133826"/>
              <a:gd name="connsiteX11" fmla="*/ 8879025 w 9537828"/>
              <a:gd name="connsiteY11" fmla="*/ 2876753 h 4133826"/>
              <a:gd name="connsiteX12" fmla="*/ 7183983 w 9537828"/>
              <a:gd name="connsiteY12" fmla="*/ 3075379 h 4133826"/>
              <a:gd name="connsiteX13" fmla="*/ 6319687 w 9537828"/>
              <a:gd name="connsiteY13" fmla="*/ 3012748 h 4133826"/>
              <a:gd name="connsiteX14" fmla="*/ 5793594 w 9537828"/>
              <a:gd name="connsiteY14" fmla="*/ 2943855 h 4133826"/>
              <a:gd name="connsiteX15" fmla="*/ 4321786 w 9537828"/>
              <a:gd name="connsiteY15" fmla="*/ 2781017 h 4133826"/>
              <a:gd name="connsiteX16" fmla="*/ 4171474 w 9537828"/>
              <a:gd name="connsiteY16" fmla="*/ 2912540 h 4133826"/>
              <a:gd name="connsiteX17" fmla="*/ 4465835 w 9537828"/>
              <a:gd name="connsiteY17" fmla="*/ 2968907 h 4133826"/>
              <a:gd name="connsiteX18" fmla="*/ 3933479 w 9537828"/>
              <a:gd name="connsiteY18" fmla="*/ 2680809 h 4133826"/>
              <a:gd name="connsiteX0" fmla="*/ 0 w 9574428"/>
              <a:gd name="connsiteY0" fmla="*/ 3895190 h 3895190"/>
              <a:gd name="connsiteX1" fmla="*/ 2655824 w 9574428"/>
              <a:gd name="connsiteY1" fmla="*/ 3469307 h 3895190"/>
              <a:gd name="connsiteX2" fmla="*/ 4321786 w 9574428"/>
              <a:gd name="connsiteY2" fmla="*/ 2504803 h 3895190"/>
              <a:gd name="connsiteX3" fmla="*/ 4553517 w 9574428"/>
              <a:gd name="connsiteY3" fmla="*/ 1984973 h 3895190"/>
              <a:gd name="connsiteX4" fmla="*/ 4685041 w 9574428"/>
              <a:gd name="connsiteY4" fmla="*/ 1534036 h 3895190"/>
              <a:gd name="connsiteX5" fmla="*/ 5098400 w 9574428"/>
              <a:gd name="connsiteY5" fmla="*/ 838841 h 3895190"/>
              <a:gd name="connsiteX6" fmla="*/ 5380235 w 9574428"/>
              <a:gd name="connsiteY6" fmla="*/ 500638 h 3895190"/>
              <a:gd name="connsiteX7" fmla="*/ 5530548 w 9574428"/>
              <a:gd name="connsiteY7" fmla="*/ 362852 h 3895190"/>
              <a:gd name="connsiteX8" fmla="*/ 5994011 w 9574428"/>
              <a:gd name="connsiteY8" fmla="*/ 49701 h 3895190"/>
              <a:gd name="connsiteX9" fmla="*/ 9401090 w 9574428"/>
              <a:gd name="connsiteY9" fmla="*/ 1521510 h 3895190"/>
              <a:gd name="connsiteX10" fmla="*/ 8879025 w 9574428"/>
              <a:gd name="connsiteY10" fmla="*/ 2638117 h 3895190"/>
              <a:gd name="connsiteX11" fmla="*/ 7183983 w 9574428"/>
              <a:gd name="connsiteY11" fmla="*/ 2836743 h 3895190"/>
              <a:gd name="connsiteX12" fmla="*/ 6319687 w 9574428"/>
              <a:gd name="connsiteY12" fmla="*/ 2774112 h 3895190"/>
              <a:gd name="connsiteX13" fmla="*/ 5793594 w 9574428"/>
              <a:gd name="connsiteY13" fmla="*/ 2705219 h 3895190"/>
              <a:gd name="connsiteX14" fmla="*/ 4321786 w 9574428"/>
              <a:gd name="connsiteY14" fmla="*/ 2542381 h 3895190"/>
              <a:gd name="connsiteX15" fmla="*/ 4171474 w 9574428"/>
              <a:gd name="connsiteY15" fmla="*/ 2673904 h 3895190"/>
              <a:gd name="connsiteX16" fmla="*/ 4465835 w 9574428"/>
              <a:gd name="connsiteY16" fmla="*/ 2730271 h 3895190"/>
              <a:gd name="connsiteX17" fmla="*/ 3933479 w 9574428"/>
              <a:gd name="connsiteY17" fmla="*/ 2442173 h 3895190"/>
              <a:gd name="connsiteX0" fmla="*/ 0 w 9434022"/>
              <a:gd name="connsiteY0" fmla="*/ 4067155 h 4067155"/>
              <a:gd name="connsiteX1" fmla="*/ 2655824 w 9434022"/>
              <a:gd name="connsiteY1" fmla="*/ 3641272 h 4067155"/>
              <a:gd name="connsiteX2" fmla="*/ 4321786 w 9434022"/>
              <a:gd name="connsiteY2" fmla="*/ 2676768 h 4067155"/>
              <a:gd name="connsiteX3" fmla="*/ 4553517 w 9434022"/>
              <a:gd name="connsiteY3" fmla="*/ 2156938 h 4067155"/>
              <a:gd name="connsiteX4" fmla="*/ 4685041 w 9434022"/>
              <a:gd name="connsiteY4" fmla="*/ 1706001 h 4067155"/>
              <a:gd name="connsiteX5" fmla="*/ 5098400 w 9434022"/>
              <a:gd name="connsiteY5" fmla="*/ 1010806 h 4067155"/>
              <a:gd name="connsiteX6" fmla="*/ 5380235 w 9434022"/>
              <a:gd name="connsiteY6" fmla="*/ 672603 h 4067155"/>
              <a:gd name="connsiteX7" fmla="*/ 5530548 w 9434022"/>
              <a:gd name="connsiteY7" fmla="*/ 534817 h 4067155"/>
              <a:gd name="connsiteX8" fmla="*/ 8085348 w 9434022"/>
              <a:gd name="connsiteY8" fmla="*/ 38888 h 4067155"/>
              <a:gd name="connsiteX9" fmla="*/ 9401090 w 9434022"/>
              <a:gd name="connsiteY9" fmla="*/ 1693475 h 4067155"/>
              <a:gd name="connsiteX10" fmla="*/ 8879025 w 9434022"/>
              <a:gd name="connsiteY10" fmla="*/ 2810082 h 4067155"/>
              <a:gd name="connsiteX11" fmla="*/ 7183983 w 9434022"/>
              <a:gd name="connsiteY11" fmla="*/ 3008708 h 4067155"/>
              <a:gd name="connsiteX12" fmla="*/ 6319687 w 9434022"/>
              <a:gd name="connsiteY12" fmla="*/ 2946077 h 4067155"/>
              <a:gd name="connsiteX13" fmla="*/ 5793594 w 9434022"/>
              <a:gd name="connsiteY13" fmla="*/ 2877184 h 4067155"/>
              <a:gd name="connsiteX14" fmla="*/ 4321786 w 9434022"/>
              <a:gd name="connsiteY14" fmla="*/ 2714346 h 4067155"/>
              <a:gd name="connsiteX15" fmla="*/ 4171474 w 9434022"/>
              <a:gd name="connsiteY15" fmla="*/ 2845869 h 4067155"/>
              <a:gd name="connsiteX16" fmla="*/ 4465835 w 9434022"/>
              <a:gd name="connsiteY16" fmla="*/ 2902236 h 4067155"/>
              <a:gd name="connsiteX17" fmla="*/ 3933479 w 9434022"/>
              <a:gd name="connsiteY17" fmla="*/ 2614138 h 4067155"/>
              <a:gd name="connsiteX0" fmla="*/ 0 w 9434022"/>
              <a:gd name="connsiteY0" fmla="*/ 4070221 h 4070221"/>
              <a:gd name="connsiteX1" fmla="*/ 2655824 w 9434022"/>
              <a:gd name="connsiteY1" fmla="*/ 3644338 h 4070221"/>
              <a:gd name="connsiteX2" fmla="*/ 4321786 w 9434022"/>
              <a:gd name="connsiteY2" fmla="*/ 2679834 h 4070221"/>
              <a:gd name="connsiteX3" fmla="*/ 4553517 w 9434022"/>
              <a:gd name="connsiteY3" fmla="*/ 2160004 h 4070221"/>
              <a:gd name="connsiteX4" fmla="*/ 4685041 w 9434022"/>
              <a:gd name="connsiteY4" fmla="*/ 1709067 h 4070221"/>
              <a:gd name="connsiteX5" fmla="*/ 5098400 w 9434022"/>
              <a:gd name="connsiteY5" fmla="*/ 1013872 h 4070221"/>
              <a:gd name="connsiteX6" fmla="*/ 5530548 w 9434022"/>
              <a:gd name="connsiteY6" fmla="*/ 537883 h 4070221"/>
              <a:gd name="connsiteX7" fmla="*/ 8085348 w 9434022"/>
              <a:gd name="connsiteY7" fmla="*/ 41954 h 4070221"/>
              <a:gd name="connsiteX8" fmla="*/ 9401090 w 9434022"/>
              <a:gd name="connsiteY8" fmla="*/ 1696541 h 4070221"/>
              <a:gd name="connsiteX9" fmla="*/ 8879025 w 9434022"/>
              <a:gd name="connsiteY9" fmla="*/ 2813148 h 4070221"/>
              <a:gd name="connsiteX10" fmla="*/ 7183983 w 9434022"/>
              <a:gd name="connsiteY10" fmla="*/ 3011774 h 4070221"/>
              <a:gd name="connsiteX11" fmla="*/ 6319687 w 9434022"/>
              <a:gd name="connsiteY11" fmla="*/ 2949143 h 4070221"/>
              <a:gd name="connsiteX12" fmla="*/ 5793594 w 9434022"/>
              <a:gd name="connsiteY12" fmla="*/ 2880250 h 4070221"/>
              <a:gd name="connsiteX13" fmla="*/ 4321786 w 9434022"/>
              <a:gd name="connsiteY13" fmla="*/ 2717412 h 4070221"/>
              <a:gd name="connsiteX14" fmla="*/ 4171474 w 9434022"/>
              <a:gd name="connsiteY14" fmla="*/ 2848935 h 4070221"/>
              <a:gd name="connsiteX15" fmla="*/ 4465835 w 9434022"/>
              <a:gd name="connsiteY15" fmla="*/ 2905302 h 4070221"/>
              <a:gd name="connsiteX16" fmla="*/ 3933479 w 9434022"/>
              <a:gd name="connsiteY16" fmla="*/ 2617204 h 4070221"/>
              <a:gd name="connsiteX0" fmla="*/ 0 w 9434022"/>
              <a:gd name="connsiteY0" fmla="*/ 4078111 h 4078111"/>
              <a:gd name="connsiteX1" fmla="*/ 2655824 w 9434022"/>
              <a:gd name="connsiteY1" fmla="*/ 3652228 h 4078111"/>
              <a:gd name="connsiteX2" fmla="*/ 4321786 w 9434022"/>
              <a:gd name="connsiteY2" fmla="*/ 2687724 h 4078111"/>
              <a:gd name="connsiteX3" fmla="*/ 4553517 w 9434022"/>
              <a:gd name="connsiteY3" fmla="*/ 2167894 h 4078111"/>
              <a:gd name="connsiteX4" fmla="*/ 4685041 w 9434022"/>
              <a:gd name="connsiteY4" fmla="*/ 1716957 h 4078111"/>
              <a:gd name="connsiteX5" fmla="*/ 5530548 w 9434022"/>
              <a:gd name="connsiteY5" fmla="*/ 545773 h 4078111"/>
              <a:gd name="connsiteX6" fmla="*/ 8085348 w 9434022"/>
              <a:gd name="connsiteY6" fmla="*/ 49844 h 4078111"/>
              <a:gd name="connsiteX7" fmla="*/ 9401090 w 9434022"/>
              <a:gd name="connsiteY7" fmla="*/ 1704431 h 4078111"/>
              <a:gd name="connsiteX8" fmla="*/ 8879025 w 9434022"/>
              <a:gd name="connsiteY8" fmla="*/ 2821038 h 4078111"/>
              <a:gd name="connsiteX9" fmla="*/ 7183983 w 9434022"/>
              <a:gd name="connsiteY9" fmla="*/ 3019664 h 4078111"/>
              <a:gd name="connsiteX10" fmla="*/ 6319687 w 9434022"/>
              <a:gd name="connsiteY10" fmla="*/ 2957033 h 4078111"/>
              <a:gd name="connsiteX11" fmla="*/ 5793594 w 9434022"/>
              <a:gd name="connsiteY11" fmla="*/ 2888140 h 4078111"/>
              <a:gd name="connsiteX12" fmla="*/ 4321786 w 9434022"/>
              <a:gd name="connsiteY12" fmla="*/ 2725302 h 4078111"/>
              <a:gd name="connsiteX13" fmla="*/ 4171474 w 9434022"/>
              <a:gd name="connsiteY13" fmla="*/ 2856825 h 4078111"/>
              <a:gd name="connsiteX14" fmla="*/ 4465835 w 9434022"/>
              <a:gd name="connsiteY14" fmla="*/ 2913192 h 4078111"/>
              <a:gd name="connsiteX15" fmla="*/ 3933479 w 9434022"/>
              <a:gd name="connsiteY15" fmla="*/ 2625094 h 4078111"/>
              <a:gd name="connsiteX0" fmla="*/ 0 w 9434022"/>
              <a:gd name="connsiteY0" fmla="*/ 4084740 h 4084740"/>
              <a:gd name="connsiteX1" fmla="*/ 2655824 w 9434022"/>
              <a:gd name="connsiteY1" fmla="*/ 3658857 h 4084740"/>
              <a:gd name="connsiteX2" fmla="*/ 4321786 w 9434022"/>
              <a:gd name="connsiteY2" fmla="*/ 2694353 h 4084740"/>
              <a:gd name="connsiteX3" fmla="*/ 4553517 w 9434022"/>
              <a:gd name="connsiteY3" fmla="*/ 2174523 h 4084740"/>
              <a:gd name="connsiteX4" fmla="*/ 5530548 w 9434022"/>
              <a:gd name="connsiteY4" fmla="*/ 552402 h 4084740"/>
              <a:gd name="connsiteX5" fmla="*/ 8085348 w 9434022"/>
              <a:gd name="connsiteY5" fmla="*/ 56473 h 4084740"/>
              <a:gd name="connsiteX6" fmla="*/ 9401090 w 9434022"/>
              <a:gd name="connsiteY6" fmla="*/ 1711060 h 4084740"/>
              <a:gd name="connsiteX7" fmla="*/ 8879025 w 9434022"/>
              <a:gd name="connsiteY7" fmla="*/ 2827667 h 4084740"/>
              <a:gd name="connsiteX8" fmla="*/ 7183983 w 9434022"/>
              <a:gd name="connsiteY8" fmla="*/ 3026293 h 4084740"/>
              <a:gd name="connsiteX9" fmla="*/ 6319687 w 9434022"/>
              <a:gd name="connsiteY9" fmla="*/ 2963662 h 4084740"/>
              <a:gd name="connsiteX10" fmla="*/ 5793594 w 9434022"/>
              <a:gd name="connsiteY10" fmla="*/ 2894769 h 4084740"/>
              <a:gd name="connsiteX11" fmla="*/ 4321786 w 9434022"/>
              <a:gd name="connsiteY11" fmla="*/ 2731931 h 4084740"/>
              <a:gd name="connsiteX12" fmla="*/ 4171474 w 9434022"/>
              <a:gd name="connsiteY12" fmla="*/ 2863454 h 4084740"/>
              <a:gd name="connsiteX13" fmla="*/ 4465835 w 9434022"/>
              <a:gd name="connsiteY13" fmla="*/ 2919821 h 4084740"/>
              <a:gd name="connsiteX14" fmla="*/ 3933479 w 9434022"/>
              <a:gd name="connsiteY14" fmla="*/ 2631723 h 4084740"/>
              <a:gd name="connsiteX0" fmla="*/ 0 w 9434022"/>
              <a:gd name="connsiteY0" fmla="*/ 4094373 h 4094373"/>
              <a:gd name="connsiteX1" fmla="*/ 2655824 w 9434022"/>
              <a:gd name="connsiteY1" fmla="*/ 3668490 h 4094373"/>
              <a:gd name="connsiteX2" fmla="*/ 4321786 w 9434022"/>
              <a:gd name="connsiteY2" fmla="*/ 2703986 h 4094373"/>
              <a:gd name="connsiteX3" fmla="*/ 5530548 w 9434022"/>
              <a:gd name="connsiteY3" fmla="*/ 562035 h 4094373"/>
              <a:gd name="connsiteX4" fmla="*/ 8085348 w 9434022"/>
              <a:gd name="connsiteY4" fmla="*/ 66106 h 4094373"/>
              <a:gd name="connsiteX5" fmla="*/ 9401090 w 9434022"/>
              <a:gd name="connsiteY5" fmla="*/ 1720693 h 4094373"/>
              <a:gd name="connsiteX6" fmla="*/ 8879025 w 9434022"/>
              <a:gd name="connsiteY6" fmla="*/ 2837300 h 4094373"/>
              <a:gd name="connsiteX7" fmla="*/ 7183983 w 9434022"/>
              <a:gd name="connsiteY7" fmla="*/ 3035926 h 4094373"/>
              <a:gd name="connsiteX8" fmla="*/ 6319687 w 9434022"/>
              <a:gd name="connsiteY8" fmla="*/ 2973295 h 4094373"/>
              <a:gd name="connsiteX9" fmla="*/ 5793594 w 9434022"/>
              <a:gd name="connsiteY9" fmla="*/ 2904402 h 4094373"/>
              <a:gd name="connsiteX10" fmla="*/ 4321786 w 9434022"/>
              <a:gd name="connsiteY10" fmla="*/ 2741564 h 4094373"/>
              <a:gd name="connsiteX11" fmla="*/ 4171474 w 9434022"/>
              <a:gd name="connsiteY11" fmla="*/ 2873087 h 4094373"/>
              <a:gd name="connsiteX12" fmla="*/ 4465835 w 9434022"/>
              <a:gd name="connsiteY12" fmla="*/ 2929454 h 4094373"/>
              <a:gd name="connsiteX13" fmla="*/ 3933479 w 9434022"/>
              <a:gd name="connsiteY13" fmla="*/ 2641356 h 4094373"/>
              <a:gd name="connsiteX0" fmla="*/ 0 w 9434022"/>
              <a:gd name="connsiteY0" fmla="*/ 4111633 h 4111633"/>
              <a:gd name="connsiteX1" fmla="*/ 2655824 w 9434022"/>
              <a:gd name="connsiteY1" fmla="*/ 3685750 h 4111633"/>
              <a:gd name="connsiteX2" fmla="*/ 4321786 w 9434022"/>
              <a:gd name="connsiteY2" fmla="*/ 2721246 h 4111633"/>
              <a:gd name="connsiteX3" fmla="*/ 5530548 w 9434022"/>
              <a:gd name="connsiteY3" fmla="*/ 579295 h 4111633"/>
              <a:gd name="connsiteX4" fmla="*/ 8085348 w 9434022"/>
              <a:gd name="connsiteY4" fmla="*/ 83366 h 4111633"/>
              <a:gd name="connsiteX5" fmla="*/ 9401090 w 9434022"/>
              <a:gd name="connsiteY5" fmla="*/ 1737953 h 4111633"/>
              <a:gd name="connsiteX6" fmla="*/ 8879025 w 9434022"/>
              <a:gd name="connsiteY6" fmla="*/ 2854560 h 4111633"/>
              <a:gd name="connsiteX7" fmla="*/ 7183983 w 9434022"/>
              <a:gd name="connsiteY7" fmla="*/ 3053186 h 4111633"/>
              <a:gd name="connsiteX8" fmla="*/ 6319687 w 9434022"/>
              <a:gd name="connsiteY8" fmla="*/ 2990555 h 4111633"/>
              <a:gd name="connsiteX9" fmla="*/ 5793594 w 9434022"/>
              <a:gd name="connsiteY9" fmla="*/ 2921662 h 4111633"/>
              <a:gd name="connsiteX10" fmla="*/ 4321786 w 9434022"/>
              <a:gd name="connsiteY10" fmla="*/ 2758824 h 4111633"/>
              <a:gd name="connsiteX11" fmla="*/ 4171474 w 9434022"/>
              <a:gd name="connsiteY11" fmla="*/ 2890347 h 4111633"/>
              <a:gd name="connsiteX12" fmla="*/ 4465835 w 9434022"/>
              <a:gd name="connsiteY12" fmla="*/ 2946714 h 4111633"/>
              <a:gd name="connsiteX13" fmla="*/ 3933479 w 9434022"/>
              <a:gd name="connsiteY13" fmla="*/ 2658616 h 4111633"/>
              <a:gd name="connsiteX0" fmla="*/ 0 w 9434022"/>
              <a:gd name="connsiteY0" fmla="*/ 4114443 h 4114443"/>
              <a:gd name="connsiteX1" fmla="*/ 2655824 w 9434022"/>
              <a:gd name="connsiteY1" fmla="*/ 3688560 h 4114443"/>
              <a:gd name="connsiteX2" fmla="*/ 4321786 w 9434022"/>
              <a:gd name="connsiteY2" fmla="*/ 2724056 h 4114443"/>
              <a:gd name="connsiteX3" fmla="*/ 5530548 w 9434022"/>
              <a:gd name="connsiteY3" fmla="*/ 582105 h 4114443"/>
              <a:gd name="connsiteX4" fmla="*/ 8085348 w 9434022"/>
              <a:gd name="connsiteY4" fmla="*/ 86176 h 4114443"/>
              <a:gd name="connsiteX5" fmla="*/ 9401090 w 9434022"/>
              <a:gd name="connsiteY5" fmla="*/ 1740763 h 4114443"/>
              <a:gd name="connsiteX6" fmla="*/ 8879025 w 9434022"/>
              <a:gd name="connsiteY6" fmla="*/ 2857370 h 4114443"/>
              <a:gd name="connsiteX7" fmla="*/ 7183983 w 9434022"/>
              <a:gd name="connsiteY7" fmla="*/ 3055996 h 4114443"/>
              <a:gd name="connsiteX8" fmla="*/ 6319687 w 9434022"/>
              <a:gd name="connsiteY8" fmla="*/ 2993365 h 4114443"/>
              <a:gd name="connsiteX9" fmla="*/ 5793594 w 9434022"/>
              <a:gd name="connsiteY9" fmla="*/ 2924472 h 4114443"/>
              <a:gd name="connsiteX10" fmla="*/ 4321786 w 9434022"/>
              <a:gd name="connsiteY10" fmla="*/ 2761634 h 4114443"/>
              <a:gd name="connsiteX11" fmla="*/ 4171474 w 9434022"/>
              <a:gd name="connsiteY11" fmla="*/ 2893157 h 4114443"/>
              <a:gd name="connsiteX12" fmla="*/ 4465835 w 9434022"/>
              <a:gd name="connsiteY12" fmla="*/ 2949524 h 4114443"/>
              <a:gd name="connsiteX13" fmla="*/ 3933479 w 9434022"/>
              <a:gd name="connsiteY13" fmla="*/ 2661426 h 4114443"/>
              <a:gd name="connsiteX0" fmla="*/ 0 w 9436146"/>
              <a:gd name="connsiteY0" fmla="*/ 4114443 h 4114443"/>
              <a:gd name="connsiteX1" fmla="*/ 2655824 w 9436146"/>
              <a:gd name="connsiteY1" fmla="*/ 3688560 h 4114443"/>
              <a:gd name="connsiteX2" fmla="*/ 4321786 w 9436146"/>
              <a:gd name="connsiteY2" fmla="*/ 2724056 h 4114443"/>
              <a:gd name="connsiteX3" fmla="*/ 5530548 w 9436146"/>
              <a:gd name="connsiteY3" fmla="*/ 582105 h 4114443"/>
              <a:gd name="connsiteX4" fmla="*/ 8085348 w 9436146"/>
              <a:gd name="connsiteY4" fmla="*/ 86176 h 4114443"/>
              <a:gd name="connsiteX5" fmla="*/ 9401090 w 9436146"/>
              <a:gd name="connsiteY5" fmla="*/ 1740763 h 4114443"/>
              <a:gd name="connsiteX6" fmla="*/ 7183983 w 9436146"/>
              <a:gd name="connsiteY6" fmla="*/ 3055996 h 4114443"/>
              <a:gd name="connsiteX7" fmla="*/ 6319687 w 9436146"/>
              <a:gd name="connsiteY7" fmla="*/ 2993365 h 4114443"/>
              <a:gd name="connsiteX8" fmla="*/ 5793594 w 9436146"/>
              <a:gd name="connsiteY8" fmla="*/ 2924472 h 4114443"/>
              <a:gd name="connsiteX9" fmla="*/ 4321786 w 9436146"/>
              <a:gd name="connsiteY9" fmla="*/ 2761634 h 4114443"/>
              <a:gd name="connsiteX10" fmla="*/ 4171474 w 9436146"/>
              <a:gd name="connsiteY10" fmla="*/ 2893157 h 4114443"/>
              <a:gd name="connsiteX11" fmla="*/ 4465835 w 9436146"/>
              <a:gd name="connsiteY11" fmla="*/ 2949524 h 4114443"/>
              <a:gd name="connsiteX12" fmla="*/ 3933479 w 9436146"/>
              <a:gd name="connsiteY12" fmla="*/ 2661426 h 4114443"/>
              <a:gd name="connsiteX0" fmla="*/ 0 w 9487927"/>
              <a:gd name="connsiteY0" fmla="*/ 4114443 h 4114443"/>
              <a:gd name="connsiteX1" fmla="*/ 2655824 w 9487927"/>
              <a:gd name="connsiteY1" fmla="*/ 3688560 h 4114443"/>
              <a:gd name="connsiteX2" fmla="*/ 4321786 w 9487927"/>
              <a:gd name="connsiteY2" fmla="*/ 2724056 h 4114443"/>
              <a:gd name="connsiteX3" fmla="*/ 5530548 w 9487927"/>
              <a:gd name="connsiteY3" fmla="*/ 582105 h 4114443"/>
              <a:gd name="connsiteX4" fmla="*/ 8085348 w 9487927"/>
              <a:gd name="connsiteY4" fmla="*/ 86176 h 4114443"/>
              <a:gd name="connsiteX5" fmla="*/ 9401090 w 9487927"/>
              <a:gd name="connsiteY5" fmla="*/ 1740763 h 4114443"/>
              <a:gd name="connsiteX6" fmla="*/ 6319687 w 9487927"/>
              <a:gd name="connsiteY6" fmla="*/ 2993365 h 4114443"/>
              <a:gd name="connsiteX7" fmla="*/ 5793594 w 9487927"/>
              <a:gd name="connsiteY7" fmla="*/ 2924472 h 4114443"/>
              <a:gd name="connsiteX8" fmla="*/ 4321786 w 9487927"/>
              <a:gd name="connsiteY8" fmla="*/ 2761634 h 4114443"/>
              <a:gd name="connsiteX9" fmla="*/ 4171474 w 9487927"/>
              <a:gd name="connsiteY9" fmla="*/ 2893157 h 4114443"/>
              <a:gd name="connsiteX10" fmla="*/ 4465835 w 9487927"/>
              <a:gd name="connsiteY10" fmla="*/ 2949524 h 4114443"/>
              <a:gd name="connsiteX11" fmla="*/ 3933479 w 9487927"/>
              <a:gd name="connsiteY11" fmla="*/ 2661426 h 4114443"/>
              <a:gd name="connsiteX0" fmla="*/ 0 w 9522079"/>
              <a:gd name="connsiteY0" fmla="*/ 4114443 h 4114443"/>
              <a:gd name="connsiteX1" fmla="*/ 2655824 w 9522079"/>
              <a:gd name="connsiteY1" fmla="*/ 3688560 h 4114443"/>
              <a:gd name="connsiteX2" fmla="*/ 4321786 w 9522079"/>
              <a:gd name="connsiteY2" fmla="*/ 2724056 h 4114443"/>
              <a:gd name="connsiteX3" fmla="*/ 5530548 w 9522079"/>
              <a:gd name="connsiteY3" fmla="*/ 582105 h 4114443"/>
              <a:gd name="connsiteX4" fmla="*/ 8085348 w 9522079"/>
              <a:gd name="connsiteY4" fmla="*/ 86176 h 4114443"/>
              <a:gd name="connsiteX5" fmla="*/ 9401090 w 9522079"/>
              <a:gd name="connsiteY5" fmla="*/ 1740763 h 4114443"/>
              <a:gd name="connsiteX6" fmla="*/ 5793594 w 9522079"/>
              <a:gd name="connsiteY6" fmla="*/ 2924472 h 4114443"/>
              <a:gd name="connsiteX7" fmla="*/ 4321786 w 9522079"/>
              <a:gd name="connsiteY7" fmla="*/ 2761634 h 4114443"/>
              <a:gd name="connsiteX8" fmla="*/ 4171474 w 9522079"/>
              <a:gd name="connsiteY8" fmla="*/ 2893157 h 4114443"/>
              <a:gd name="connsiteX9" fmla="*/ 4465835 w 9522079"/>
              <a:gd name="connsiteY9" fmla="*/ 2949524 h 4114443"/>
              <a:gd name="connsiteX10" fmla="*/ 3933479 w 9522079"/>
              <a:gd name="connsiteY10" fmla="*/ 2661426 h 4114443"/>
              <a:gd name="connsiteX0" fmla="*/ 0 w 9479057"/>
              <a:gd name="connsiteY0" fmla="*/ 4043405 h 4043405"/>
              <a:gd name="connsiteX1" fmla="*/ 2655824 w 9479057"/>
              <a:gd name="connsiteY1" fmla="*/ 3617522 h 4043405"/>
              <a:gd name="connsiteX2" fmla="*/ 4321786 w 9479057"/>
              <a:gd name="connsiteY2" fmla="*/ 2653018 h 4043405"/>
              <a:gd name="connsiteX3" fmla="*/ 5905675 w 9479057"/>
              <a:gd name="connsiteY3" fmla="*/ 951395 h 4043405"/>
              <a:gd name="connsiteX4" fmla="*/ 8085348 w 9479057"/>
              <a:gd name="connsiteY4" fmla="*/ 15138 h 4043405"/>
              <a:gd name="connsiteX5" fmla="*/ 9401090 w 9479057"/>
              <a:gd name="connsiteY5" fmla="*/ 1669725 h 4043405"/>
              <a:gd name="connsiteX6" fmla="*/ 5793594 w 9479057"/>
              <a:gd name="connsiteY6" fmla="*/ 2853434 h 4043405"/>
              <a:gd name="connsiteX7" fmla="*/ 4321786 w 9479057"/>
              <a:gd name="connsiteY7" fmla="*/ 2690596 h 4043405"/>
              <a:gd name="connsiteX8" fmla="*/ 4171474 w 9479057"/>
              <a:gd name="connsiteY8" fmla="*/ 2822119 h 4043405"/>
              <a:gd name="connsiteX9" fmla="*/ 4465835 w 9479057"/>
              <a:gd name="connsiteY9" fmla="*/ 2878486 h 4043405"/>
              <a:gd name="connsiteX10" fmla="*/ 3933479 w 9479057"/>
              <a:gd name="connsiteY10" fmla="*/ 2590388 h 4043405"/>
              <a:gd name="connsiteX0" fmla="*/ 0 w 9603591"/>
              <a:gd name="connsiteY0" fmla="*/ 4028628 h 4028628"/>
              <a:gd name="connsiteX1" fmla="*/ 2655824 w 9603591"/>
              <a:gd name="connsiteY1" fmla="*/ 3602745 h 4028628"/>
              <a:gd name="connsiteX2" fmla="*/ 4321786 w 9603591"/>
              <a:gd name="connsiteY2" fmla="*/ 2638241 h 4028628"/>
              <a:gd name="connsiteX3" fmla="*/ 5905675 w 9603591"/>
              <a:gd name="connsiteY3" fmla="*/ 936618 h 4028628"/>
              <a:gd name="connsiteX4" fmla="*/ 8085348 w 9603591"/>
              <a:gd name="connsiteY4" fmla="*/ 361 h 4028628"/>
              <a:gd name="connsiteX5" fmla="*/ 9401090 w 9603591"/>
              <a:gd name="connsiteY5" fmla="*/ 1654948 h 4028628"/>
              <a:gd name="connsiteX6" fmla="*/ 5793594 w 9603591"/>
              <a:gd name="connsiteY6" fmla="*/ 2838657 h 4028628"/>
              <a:gd name="connsiteX7" fmla="*/ 4321786 w 9603591"/>
              <a:gd name="connsiteY7" fmla="*/ 2675819 h 4028628"/>
              <a:gd name="connsiteX8" fmla="*/ 4171474 w 9603591"/>
              <a:gd name="connsiteY8" fmla="*/ 2807342 h 4028628"/>
              <a:gd name="connsiteX9" fmla="*/ 4465835 w 9603591"/>
              <a:gd name="connsiteY9" fmla="*/ 2863709 h 4028628"/>
              <a:gd name="connsiteX10" fmla="*/ 3933479 w 9603591"/>
              <a:gd name="connsiteY10" fmla="*/ 2575611 h 4028628"/>
              <a:gd name="connsiteX0" fmla="*/ 0 w 9602407"/>
              <a:gd name="connsiteY0" fmla="*/ 4039392 h 4039392"/>
              <a:gd name="connsiteX1" fmla="*/ 2655824 w 9602407"/>
              <a:gd name="connsiteY1" fmla="*/ 3613509 h 4039392"/>
              <a:gd name="connsiteX2" fmla="*/ 4321786 w 9602407"/>
              <a:gd name="connsiteY2" fmla="*/ 2649005 h 4039392"/>
              <a:gd name="connsiteX3" fmla="*/ 5905675 w 9602407"/>
              <a:gd name="connsiteY3" fmla="*/ 947382 h 4039392"/>
              <a:gd name="connsiteX4" fmla="*/ 8085348 w 9602407"/>
              <a:gd name="connsiteY4" fmla="*/ 11125 h 4039392"/>
              <a:gd name="connsiteX5" fmla="*/ 9401090 w 9602407"/>
              <a:gd name="connsiteY5" fmla="*/ 1665712 h 4039392"/>
              <a:gd name="connsiteX6" fmla="*/ 5793594 w 9602407"/>
              <a:gd name="connsiteY6" fmla="*/ 2849421 h 4039392"/>
              <a:gd name="connsiteX7" fmla="*/ 4321786 w 9602407"/>
              <a:gd name="connsiteY7" fmla="*/ 2686583 h 4039392"/>
              <a:gd name="connsiteX8" fmla="*/ 4171474 w 9602407"/>
              <a:gd name="connsiteY8" fmla="*/ 2818106 h 4039392"/>
              <a:gd name="connsiteX9" fmla="*/ 4465835 w 9602407"/>
              <a:gd name="connsiteY9" fmla="*/ 2874473 h 4039392"/>
              <a:gd name="connsiteX10" fmla="*/ 3933479 w 9602407"/>
              <a:gd name="connsiteY10" fmla="*/ 2586375 h 4039392"/>
              <a:gd name="connsiteX0" fmla="*/ 0 w 9656300"/>
              <a:gd name="connsiteY0" fmla="*/ 4038473 h 4038473"/>
              <a:gd name="connsiteX1" fmla="*/ 2655824 w 9656300"/>
              <a:gd name="connsiteY1" fmla="*/ 3612590 h 4038473"/>
              <a:gd name="connsiteX2" fmla="*/ 4321786 w 9656300"/>
              <a:gd name="connsiteY2" fmla="*/ 2648086 h 4038473"/>
              <a:gd name="connsiteX3" fmla="*/ 5905675 w 9656300"/>
              <a:gd name="connsiteY3" fmla="*/ 946463 h 4038473"/>
              <a:gd name="connsiteX4" fmla="*/ 8085348 w 9656300"/>
              <a:gd name="connsiteY4" fmla="*/ 10206 h 4038473"/>
              <a:gd name="connsiteX5" fmla="*/ 9401090 w 9656300"/>
              <a:gd name="connsiteY5" fmla="*/ 1664793 h 4038473"/>
              <a:gd name="connsiteX6" fmla="*/ 5793594 w 9656300"/>
              <a:gd name="connsiteY6" fmla="*/ 2848502 h 4038473"/>
              <a:gd name="connsiteX7" fmla="*/ 4321786 w 9656300"/>
              <a:gd name="connsiteY7" fmla="*/ 2685664 h 4038473"/>
              <a:gd name="connsiteX8" fmla="*/ 4171474 w 9656300"/>
              <a:gd name="connsiteY8" fmla="*/ 2817187 h 4038473"/>
              <a:gd name="connsiteX9" fmla="*/ 4465835 w 9656300"/>
              <a:gd name="connsiteY9" fmla="*/ 2873554 h 4038473"/>
              <a:gd name="connsiteX10" fmla="*/ 3933479 w 9656300"/>
              <a:gd name="connsiteY10" fmla="*/ 2585456 h 4038473"/>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86218"/>
              <a:gd name="connsiteY0" fmla="*/ 4038961 h 4038961"/>
              <a:gd name="connsiteX1" fmla="*/ 2655824 w 9586218"/>
              <a:gd name="connsiteY1" fmla="*/ 3613078 h 4038961"/>
              <a:gd name="connsiteX2" fmla="*/ 4321786 w 9586218"/>
              <a:gd name="connsiteY2" fmla="*/ 2648574 h 4038961"/>
              <a:gd name="connsiteX3" fmla="*/ 5905675 w 9586218"/>
              <a:gd name="connsiteY3" fmla="*/ 946951 h 4038961"/>
              <a:gd name="connsiteX4" fmla="*/ 8085348 w 9586218"/>
              <a:gd name="connsiteY4" fmla="*/ 10694 h 4038961"/>
              <a:gd name="connsiteX5" fmla="*/ 9401090 w 9586218"/>
              <a:gd name="connsiteY5" fmla="*/ 1665281 h 4038961"/>
              <a:gd name="connsiteX6" fmla="*/ 6365664 w 9586218"/>
              <a:gd name="connsiteY6" fmla="*/ 2749294 h 4038961"/>
              <a:gd name="connsiteX7" fmla="*/ 4321786 w 9586218"/>
              <a:gd name="connsiteY7" fmla="*/ 2686152 h 4038961"/>
              <a:gd name="connsiteX8" fmla="*/ 4171474 w 9586218"/>
              <a:gd name="connsiteY8" fmla="*/ 2817675 h 4038961"/>
              <a:gd name="connsiteX9" fmla="*/ 4465835 w 9586218"/>
              <a:gd name="connsiteY9" fmla="*/ 2874042 h 4038961"/>
              <a:gd name="connsiteX10" fmla="*/ 3933479 w 9586218"/>
              <a:gd name="connsiteY10" fmla="*/ 2585944 h 4038961"/>
              <a:gd name="connsiteX0" fmla="*/ 0 w 9669443"/>
              <a:gd name="connsiteY0" fmla="*/ 4041204 h 4041204"/>
              <a:gd name="connsiteX1" fmla="*/ 2655824 w 9669443"/>
              <a:gd name="connsiteY1" fmla="*/ 3615321 h 4041204"/>
              <a:gd name="connsiteX2" fmla="*/ 4321786 w 9669443"/>
              <a:gd name="connsiteY2" fmla="*/ 2650817 h 4041204"/>
              <a:gd name="connsiteX3" fmla="*/ 5905675 w 9669443"/>
              <a:gd name="connsiteY3" fmla="*/ 949194 h 4041204"/>
              <a:gd name="connsiteX4" fmla="*/ 8085348 w 9669443"/>
              <a:gd name="connsiteY4" fmla="*/ 12937 h 4041204"/>
              <a:gd name="connsiteX5" fmla="*/ 9401090 w 9669443"/>
              <a:gd name="connsiteY5" fmla="*/ 1667524 h 4041204"/>
              <a:gd name="connsiteX6" fmla="*/ 6365664 w 9669443"/>
              <a:gd name="connsiteY6" fmla="*/ 2751537 h 4041204"/>
              <a:gd name="connsiteX7" fmla="*/ 4321786 w 9669443"/>
              <a:gd name="connsiteY7" fmla="*/ 2688395 h 4041204"/>
              <a:gd name="connsiteX8" fmla="*/ 4171474 w 9669443"/>
              <a:gd name="connsiteY8" fmla="*/ 2819918 h 4041204"/>
              <a:gd name="connsiteX9" fmla="*/ 4465835 w 9669443"/>
              <a:gd name="connsiteY9" fmla="*/ 2876285 h 4041204"/>
              <a:gd name="connsiteX10" fmla="*/ 3933479 w 9669443"/>
              <a:gd name="connsiteY10" fmla="*/ 2588187 h 4041204"/>
              <a:gd name="connsiteX0" fmla="*/ 0 w 12729702"/>
              <a:gd name="connsiteY0" fmla="*/ 3843401 h 3843402"/>
              <a:gd name="connsiteX1" fmla="*/ 5716083 w 12729702"/>
              <a:gd name="connsiteY1" fmla="*/ 3615321 h 3843402"/>
              <a:gd name="connsiteX2" fmla="*/ 7382045 w 12729702"/>
              <a:gd name="connsiteY2" fmla="*/ 2650817 h 3843402"/>
              <a:gd name="connsiteX3" fmla="*/ 8965934 w 12729702"/>
              <a:gd name="connsiteY3" fmla="*/ 949194 h 3843402"/>
              <a:gd name="connsiteX4" fmla="*/ 11145607 w 12729702"/>
              <a:gd name="connsiteY4" fmla="*/ 12937 h 3843402"/>
              <a:gd name="connsiteX5" fmla="*/ 12461349 w 12729702"/>
              <a:gd name="connsiteY5" fmla="*/ 1667524 h 3843402"/>
              <a:gd name="connsiteX6" fmla="*/ 9425923 w 12729702"/>
              <a:gd name="connsiteY6" fmla="*/ 2751537 h 3843402"/>
              <a:gd name="connsiteX7" fmla="*/ 7382045 w 12729702"/>
              <a:gd name="connsiteY7" fmla="*/ 2688395 h 3843402"/>
              <a:gd name="connsiteX8" fmla="*/ 7231733 w 12729702"/>
              <a:gd name="connsiteY8" fmla="*/ 2819918 h 3843402"/>
              <a:gd name="connsiteX9" fmla="*/ 7526094 w 12729702"/>
              <a:gd name="connsiteY9" fmla="*/ 2876285 h 3843402"/>
              <a:gd name="connsiteX10" fmla="*/ 6993738 w 12729702"/>
              <a:gd name="connsiteY10" fmla="*/ 2588187 h 3843402"/>
              <a:gd name="connsiteX0" fmla="*/ 0 w 12729702"/>
              <a:gd name="connsiteY0" fmla="*/ 3843401 h 3849782"/>
              <a:gd name="connsiteX1" fmla="*/ 4359299 w 12729702"/>
              <a:gd name="connsiteY1" fmla="*/ 3721480 h 3849782"/>
              <a:gd name="connsiteX2" fmla="*/ 7382045 w 12729702"/>
              <a:gd name="connsiteY2" fmla="*/ 2650817 h 3849782"/>
              <a:gd name="connsiteX3" fmla="*/ 8965934 w 12729702"/>
              <a:gd name="connsiteY3" fmla="*/ 949194 h 3849782"/>
              <a:gd name="connsiteX4" fmla="*/ 11145607 w 12729702"/>
              <a:gd name="connsiteY4" fmla="*/ 12937 h 3849782"/>
              <a:gd name="connsiteX5" fmla="*/ 12461349 w 12729702"/>
              <a:gd name="connsiteY5" fmla="*/ 1667524 h 3849782"/>
              <a:gd name="connsiteX6" fmla="*/ 9425923 w 12729702"/>
              <a:gd name="connsiteY6" fmla="*/ 2751537 h 3849782"/>
              <a:gd name="connsiteX7" fmla="*/ 7382045 w 12729702"/>
              <a:gd name="connsiteY7" fmla="*/ 2688395 h 3849782"/>
              <a:gd name="connsiteX8" fmla="*/ 7231733 w 12729702"/>
              <a:gd name="connsiteY8" fmla="*/ 2819918 h 3849782"/>
              <a:gd name="connsiteX9" fmla="*/ 7526094 w 12729702"/>
              <a:gd name="connsiteY9" fmla="*/ 2876285 h 3849782"/>
              <a:gd name="connsiteX10" fmla="*/ 6993738 w 12729702"/>
              <a:gd name="connsiteY10" fmla="*/ 2588187 h 3849782"/>
              <a:gd name="connsiteX0" fmla="*/ 0 w 12729702"/>
              <a:gd name="connsiteY0" fmla="*/ 3843401 h 3843402"/>
              <a:gd name="connsiteX1" fmla="*/ 4359299 w 12729702"/>
              <a:gd name="connsiteY1" fmla="*/ 3721480 h 3843402"/>
              <a:gd name="connsiteX2" fmla="*/ 7382045 w 12729702"/>
              <a:gd name="connsiteY2" fmla="*/ 2650817 h 3843402"/>
              <a:gd name="connsiteX3" fmla="*/ 8965934 w 12729702"/>
              <a:gd name="connsiteY3" fmla="*/ 949194 h 3843402"/>
              <a:gd name="connsiteX4" fmla="*/ 11145607 w 12729702"/>
              <a:gd name="connsiteY4" fmla="*/ 12937 h 3843402"/>
              <a:gd name="connsiteX5" fmla="*/ 12461349 w 12729702"/>
              <a:gd name="connsiteY5" fmla="*/ 1667524 h 3843402"/>
              <a:gd name="connsiteX6" fmla="*/ 9425923 w 12729702"/>
              <a:gd name="connsiteY6" fmla="*/ 2751537 h 3843402"/>
              <a:gd name="connsiteX7" fmla="*/ 7382045 w 12729702"/>
              <a:gd name="connsiteY7" fmla="*/ 2688395 h 3843402"/>
              <a:gd name="connsiteX8" fmla="*/ 7231733 w 12729702"/>
              <a:gd name="connsiteY8" fmla="*/ 2819918 h 3843402"/>
              <a:gd name="connsiteX9" fmla="*/ 7526094 w 12729702"/>
              <a:gd name="connsiteY9" fmla="*/ 2876285 h 3843402"/>
              <a:gd name="connsiteX10" fmla="*/ 6993738 w 12729702"/>
              <a:gd name="connsiteY10" fmla="*/ 2588187 h 3843402"/>
              <a:gd name="connsiteX0" fmla="*/ 0 w 12729702"/>
              <a:gd name="connsiteY0" fmla="*/ 3843401 h 3843400"/>
              <a:gd name="connsiteX1" fmla="*/ 4359299 w 12729702"/>
              <a:gd name="connsiteY1" fmla="*/ 3721480 h 3843400"/>
              <a:gd name="connsiteX2" fmla="*/ 7382045 w 12729702"/>
              <a:gd name="connsiteY2" fmla="*/ 2650817 h 3843400"/>
              <a:gd name="connsiteX3" fmla="*/ 8965934 w 12729702"/>
              <a:gd name="connsiteY3" fmla="*/ 949194 h 3843400"/>
              <a:gd name="connsiteX4" fmla="*/ 11145607 w 12729702"/>
              <a:gd name="connsiteY4" fmla="*/ 12937 h 3843400"/>
              <a:gd name="connsiteX5" fmla="*/ 12461349 w 12729702"/>
              <a:gd name="connsiteY5" fmla="*/ 1667524 h 3843400"/>
              <a:gd name="connsiteX6" fmla="*/ 9425923 w 12729702"/>
              <a:gd name="connsiteY6" fmla="*/ 2751537 h 3843400"/>
              <a:gd name="connsiteX7" fmla="*/ 7382045 w 12729702"/>
              <a:gd name="connsiteY7" fmla="*/ 2688395 h 3843400"/>
              <a:gd name="connsiteX8" fmla="*/ 7231733 w 12729702"/>
              <a:gd name="connsiteY8" fmla="*/ 2819918 h 3843400"/>
              <a:gd name="connsiteX9" fmla="*/ 7526094 w 12729702"/>
              <a:gd name="connsiteY9" fmla="*/ 2876285 h 3843400"/>
              <a:gd name="connsiteX10" fmla="*/ 6993738 w 12729702"/>
              <a:gd name="connsiteY10" fmla="*/ 2588187 h 3843400"/>
              <a:gd name="connsiteX0" fmla="*/ 0 w 12729702"/>
              <a:gd name="connsiteY0" fmla="*/ 3843401 h 3968746"/>
              <a:gd name="connsiteX1" fmla="*/ 4316510 w 12729702"/>
              <a:gd name="connsiteY1" fmla="*/ 3964476 h 3968746"/>
              <a:gd name="connsiteX2" fmla="*/ 7382045 w 12729702"/>
              <a:gd name="connsiteY2" fmla="*/ 2650817 h 3968746"/>
              <a:gd name="connsiteX3" fmla="*/ 8965934 w 12729702"/>
              <a:gd name="connsiteY3" fmla="*/ 949194 h 3968746"/>
              <a:gd name="connsiteX4" fmla="*/ 11145607 w 12729702"/>
              <a:gd name="connsiteY4" fmla="*/ 12937 h 3968746"/>
              <a:gd name="connsiteX5" fmla="*/ 12461349 w 12729702"/>
              <a:gd name="connsiteY5" fmla="*/ 1667524 h 3968746"/>
              <a:gd name="connsiteX6" fmla="*/ 9425923 w 12729702"/>
              <a:gd name="connsiteY6" fmla="*/ 2751537 h 3968746"/>
              <a:gd name="connsiteX7" fmla="*/ 7382045 w 12729702"/>
              <a:gd name="connsiteY7" fmla="*/ 2688395 h 3968746"/>
              <a:gd name="connsiteX8" fmla="*/ 7231733 w 12729702"/>
              <a:gd name="connsiteY8" fmla="*/ 2819918 h 3968746"/>
              <a:gd name="connsiteX9" fmla="*/ 7526094 w 12729702"/>
              <a:gd name="connsiteY9" fmla="*/ 2876285 h 3968746"/>
              <a:gd name="connsiteX10" fmla="*/ 6993738 w 12729702"/>
              <a:gd name="connsiteY10" fmla="*/ 2588187 h 3968746"/>
              <a:gd name="connsiteX0" fmla="*/ 0 w 12729702"/>
              <a:gd name="connsiteY0" fmla="*/ 3843401 h 3843401"/>
              <a:gd name="connsiteX1" fmla="*/ 4134034 w 12729702"/>
              <a:gd name="connsiteY1" fmla="*/ 3735521 h 3843401"/>
              <a:gd name="connsiteX2" fmla="*/ 7382045 w 12729702"/>
              <a:gd name="connsiteY2" fmla="*/ 2650817 h 3843401"/>
              <a:gd name="connsiteX3" fmla="*/ 8965934 w 12729702"/>
              <a:gd name="connsiteY3" fmla="*/ 949194 h 3843401"/>
              <a:gd name="connsiteX4" fmla="*/ 11145607 w 12729702"/>
              <a:gd name="connsiteY4" fmla="*/ 12937 h 3843401"/>
              <a:gd name="connsiteX5" fmla="*/ 12461349 w 12729702"/>
              <a:gd name="connsiteY5" fmla="*/ 1667524 h 3843401"/>
              <a:gd name="connsiteX6" fmla="*/ 9425923 w 12729702"/>
              <a:gd name="connsiteY6" fmla="*/ 2751537 h 3843401"/>
              <a:gd name="connsiteX7" fmla="*/ 7382045 w 12729702"/>
              <a:gd name="connsiteY7" fmla="*/ 2688395 h 3843401"/>
              <a:gd name="connsiteX8" fmla="*/ 7231733 w 12729702"/>
              <a:gd name="connsiteY8" fmla="*/ 2819918 h 3843401"/>
              <a:gd name="connsiteX9" fmla="*/ 7526094 w 12729702"/>
              <a:gd name="connsiteY9" fmla="*/ 2876285 h 3843401"/>
              <a:gd name="connsiteX10" fmla="*/ 6993738 w 12729702"/>
              <a:gd name="connsiteY10" fmla="*/ 2588187 h 3843401"/>
              <a:gd name="connsiteX0" fmla="*/ 0 w 12729702"/>
              <a:gd name="connsiteY0" fmla="*/ 3843401 h 3861962"/>
              <a:gd name="connsiteX1" fmla="*/ 4134034 w 12729702"/>
              <a:gd name="connsiteY1" fmla="*/ 3735521 h 3861962"/>
              <a:gd name="connsiteX2" fmla="*/ 7382045 w 12729702"/>
              <a:gd name="connsiteY2" fmla="*/ 2650817 h 3861962"/>
              <a:gd name="connsiteX3" fmla="*/ 8965934 w 12729702"/>
              <a:gd name="connsiteY3" fmla="*/ 949194 h 3861962"/>
              <a:gd name="connsiteX4" fmla="*/ 11145607 w 12729702"/>
              <a:gd name="connsiteY4" fmla="*/ 12937 h 3861962"/>
              <a:gd name="connsiteX5" fmla="*/ 12461349 w 12729702"/>
              <a:gd name="connsiteY5" fmla="*/ 1667524 h 3861962"/>
              <a:gd name="connsiteX6" fmla="*/ 9425923 w 12729702"/>
              <a:gd name="connsiteY6" fmla="*/ 2751537 h 3861962"/>
              <a:gd name="connsiteX7" fmla="*/ 7382045 w 12729702"/>
              <a:gd name="connsiteY7" fmla="*/ 2688395 h 3861962"/>
              <a:gd name="connsiteX8" fmla="*/ 7231733 w 12729702"/>
              <a:gd name="connsiteY8" fmla="*/ 2819918 h 3861962"/>
              <a:gd name="connsiteX9" fmla="*/ 7526094 w 12729702"/>
              <a:gd name="connsiteY9" fmla="*/ 2876285 h 3861962"/>
              <a:gd name="connsiteX10" fmla="*/ 6993738 w 12729702"/>
              <a:gd name="connsiteY10" fmla="*/ 2588187 h 3861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29702" h="3861962">
                <a:moveTo>
                  <a:pt x="0" y="3843401"/>
                </a:moveTo>
                <a:cubicBezTo>
                  <a:pt x="1322923" y="3823291"/>
                  <a:pt x="2906089" y="3948588"/>
                  <a:pt x="4134034" y="3735521"/>
                </a:cubicBezTo>
                <a:cubicBezTo>
                  <a:pt x="5969790" y="3416989"/>
                  <a:pt x="6576728" y="3115205"/>
                  <a:pt x="7382045" y="2650817"/>
                </a:cubicBezTo>
                <a:cubicBezTo>
                  <a:pt x="8187362" y="2186429"/>
                  <a:pt x="8338674" y="1388841"/>
                  <a:pt x="8965934" y="949194"/>
                </a:cubicBezTo>
                <a:cubicBezTo>
                  <a:pt x="9593194" y="509547"/>
                  <a:pt x="10279108" y="88417"/>
                  <a:pt x="11145607" y="12937"/>
                </a:cubicBezTo>
                <a:cubicBezTo>
                  <a:pt x="12819685" y="-132891"/>
                  <a:pt x="12994375" y="987981"/>
                  <a:pt x="12461349" y="1667524"/>
                </a:cubicBezTo>
                <a:cubicBezTo>
                  <a:pt x="12040900" y="2203546"/>
                  <a:pt x="10281852" y="2706013"/>
                  <a:pt x="9425923" y="2751537"/>
                </a:cubicBezTo>
                <a:cubicBezTo>
                  <a:pt x="8563662" y="2797398"/>
                  <a:pt x="7747743" y="2676998"/>
                  <a:pt x="7382045" y="2688395"/>
                </a:cubicBezTo>
                <a:cubicBezTo>
                  <a:pt x="7016347" y="2699792"/>
                  <a:pt x="7207725" y="2788603"/>
                  <a:pt x="7231733" y="2819918"/>
                </a:cubicBezTo>
                <a:cubicBezTo>
                  <a:pt x="7255741" y="2851233"/>
                  <a:pt x="7512382" y="2929923"/>
                  <a:pt x="7526094" y="2876285"/>
                </a:cubicBezTo>
                <a:cubicBezTo>
                  <a:pt x="7561584" y="2737455"/>
                  <a:pt x="7137787" y="2406559"/>
                  <a:pt x="6993738" y="2588187"/>
                </a:cubicBezTo>
              </a:path>
            </a:pathLst>
          </a:cu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3" name="Gruppieren 22"/>
          <p:cNvGrpSpPr/>
          <p:nvPr/>
        </p:nvGrpSpPr>
        <p:grpSpPr>
          <a:xfrm>
            <a:off x="7060906" y="3085332"/>
            <a:ext cx="1890458" cy="1533334"/>
            <a:chOff x="6234531" y="2876737"/>
            <a:chExt cx="1890458" cy="1533334"/>
          </a:xfrm>
        </p:grpSpPr>
        <p:pic>
          <p:nvPicPr>
            <p:cNvPr id="13" name="Grafik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34531" y="3554591"/>
              <a:ext cx="1884116" cy="855480"/>
            </a:xfrm>
            <a:prstGeom prst="rect">
              <a:avLst/>
            </a:prstGeom>
            <a:effectLst>
              <a:outerShdw blurRad="50800" dist="38100" dir="2700000" algn="tl" rotWithShape="0">
                <a:prstClr val="black">
                  <a:alpha val="40000"/>
                </a:prstClr>
              </a:outerShdw>
            </a:effectLst>
          </p:spPr>
        </p:pic>
        <p:pic>
          <p:nvPicPr>
            <p:cNvPr id="15" name="Grafik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34531" y="3396936"/>
              <a:ext cx="1884116" cy="855480"/>
            </a:xfrm>
            <a:prstGeom prst="rect">
              <a:avLst/>
            </a:prstGeom>
            <a:effectLst>
              <a:outerShdw blurRad="50800" dist="38100" dir="2700000" algn="tl" rotWithShape="0">
                <a:prstClr val="black">
                  <a:alpha val="40000"/>
                </a:prstClr>
              </a:outerShdw>
            </a:effectLst>
          </p:spPr>
        </p:pic>
        <p:pic>
          <p:nvPicPr>
            <p:cNvPr id="17" name="Grafik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34531" y="3222041"/>
              <a:ext cx="1884116" cy="855480"/>
            </a:xfrm>
            <a:prstGeom prst="rect">
              <a:avLst/>
            </a:prstGeom>
            <a:effectLst>
              <a:outerShdw blurRad="50800" dist="38100" dir="2700000" algn="tl" rotWithShape="0">
                <a:prstClr val="black">
                  <a:alpha val="40000"/>
                </a:prstClr>
              </a:outerShdw>
            </a:effectLst>
          </p:spPr>
        </p:pic>
        <p:pic>
          <p:nvPicPr>
            <p:cNvPr id="19" name="Grafik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40873" y="3059015"/>
              <a:ext cx="1884116" cy="855480"/>
            </a:xfrm>
            <a:prstGeom prst="rect">
              <a:avLst/>
            </a:prstGeom>
            <a:effectLst>
              <a:outerShdw blurRad="50800" dist="38100" dir="2700000" algn="tl" rotWithShape="0">
                <a:prstClr val="black">
                  <a:alpha val="40000"/>
                </a:prstClr>
              </a:outerShdw>
            </a:effectLst>
          </p:spPr>
        </p:pic>
        <p:pic>
          <p:nvPicPr>
            <p:cNvPr id="21" name="Grafik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40873" y="2876737"/>
              <a:ext cx="1884116" cy="855480"/>
            </a:xfrm>
            <a:prstGeom prst="rect">
              <a:avLst/>
            </a:prstGeom>
            <a:effectLst>
              <a:outerShdw blurRad="50800" dist="38100" dir="2700000" algn="tl" rotWithShape="0">
                <a:prstClr val="black">
                  <a:alpha val="40000"/>
                </a:prstClr>
              </a:outerShdw>
            </a:effectLst>
          </p:spPr>
        </p:pic>
      </p:grpSp>
      <p:grpSp>
        <p:nvGrpSpPr>
          <p:cNvPr id="25" name="Gruppieren 24"/>
          <p:cNvGrpSpPr/>
          <p:nvPr/>
        </p:nvGrpSpPr>
        <p:grpSpPr>
          <a:xfrm>
            <a:off x="4911902" y="2455374"/>
            <a:ext cx="1890458" cy="1533334"/>
            <a:chOff x="3751560" y="2475314"/>
            <a:chExt cx="1890458" cy="1533334"/>
          </a:xfrm>
        </p:grpSpPr>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072779">
              <a:off x="3751560" y="3153168"/>
              <a:ext cx="1884116" cy="855480"/>
            </a:xfrm>
            <a:prstGeom prst="rect">
              <a:avLst/>
            </a:prstGeom>
            <a:effectLst>
              <a:outerShdw blurRad="50800" dist="38100" dir="2700000" algn="tl" rotWithShape="0">
                <a:prstClr val="black">
                  <a:alpha val="40000"/>
                </a:prstClr>
              </a:outerShdw>
            </a:effectLst>
          </p:spPr>
        </p:pic>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072779">
              <a:off x="3751560" y="2995513"/>
              <a:ext cx="1884116" cy="855480"/>
            </a:xfrm>
            <a:prstGeom prst="rect">
              <a:avLst/>
            </a:prstGeom>
            <a:effectLst>
              <a:outerShdw blurRad="50800" dist="38100" dir="2700000" algn="tl" rotWithShape="0">
                <a:prstClr val="black">
                  <a:alpha val="40000"/>
                </a:prstClr>
              </a:outerShdw>
            </a:effectLst>
          </p:spPr>
        </p:pic>
        <p:pic>
          <p:nvPicPr>
            <p:cNvPr id="18" name="Grafi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072779">
              <a:off x="3751560" y="2820618"/>
              <a:ext cx="1884116" cy="855480"/>
            </a:xfrm>
            <a:prstGeom prst="rect">
              <a:avLst/>
            </a:prstGeom>
            <a:effectLst>
              <a:outerShdw blurRad="50800" dist="38100" dir="2700000" algn="tl" rotWithShape="0">
                <a:prstClr val="black">
                  <a:alpha val="40000"/>
                </a:prstClr>
              </a:outerShdw>
            </a:effectLst>
          </p:spPr>
        </p:pic>
        <p:pic>
          <p:nvPicPr>
            <p:cNvPr id="20" name="Grafik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072779">
              <a:off x="3757902" y="2657592"/>
              <a:ext cx="1884116" cy="855480"/>
            </a:xfrm>
            <a:prstGeom prst="rect">
              <a:avLst/>
            </a:prstGeom>
            <a:effectLst>
              <a:outerShdw blurRad="50800" dist="38100" dir="2700000" algn="tl" rotWithShape="0">
                <a:prstClr val="black">
                  <a:alpha val="40000"/>
                </a:prstClr>
              </a:outerShdw>
            </a:effectLst>
          </p:spPr>
        </p:pic>
        <p:pic>
          <p:nvPicPr>
            <p:cNvPr id="22" name="Grafik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072779">
              <a:off x="3757902" y="2475314"/>
              <a:ext cx="1884116" cy="855480"/>
            </a:xfrm>
            <a:prstGeom prst="rect">
              <a:avLst/>
            </a:prstGeom>
            <a:effectLst>
              <a:outerShdw blurRad="50800" dist="38100" dir="2700000" algn="tl" rotWithShape="0">
                <a:prstClr val="black">
                  <a:alpha val="40000"/>
                </a:prstClr>
              </a:outerShdw>
            </a:effectLst>
          </p:spPr>
        </p:pic>
      </p:grpSp>
      <p:sp>
        <p:nvSpPr>
          <p:cNvPr id="3" name="Foliennummernplatzhalter 2"/>
          <p:cNvSpPr>
            <a:spLocks noGrp="1"/>
          </p:cNvSpPr>
          <p:nvPr>
            <p:ph type="sldNum" sz="quarter" idx="12"/>
          </p:nvPr>
        </p:nvSpPr>
        <p:spPr/>
        <p:txBody>
          <a:bodyPr/>
          <a:lstStyle/>
          <a:p>
            <a:fld id="{4AD1E780-DE1C-4ECA-B5E5-863D0BC53287}" type="slidenum">
              <a:rPr lang="de-DE" smtClean="0"/>
              <a:pPr/>
              <a:t>29</a:t>
            </a:fld>
            <a:endParaRPr lang="de-DE" dirty="0"/>
          </a:p>
        </p:txBody>
      </p:sp>
      <p:sp>
        <p:nvSpPr>
          <p:cNvPr id="4" name="Textplatzhalter 2"/>
          <p:cNvSpPr txBox="1">
            <a:spLocks/>
          </p:cNvSpPr>
          <p:nvPr/>
        </p:nvSpPr>
        <p:spPr>
          <a:xfrm>
            <a:off x="302341" y="426280"/>
            <a:ext cx="888549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To</a:t>
            </a:r>
            <a:r>
              <a:rPr lang="de-DE" sz="3600" b="1" dirty="0" smtClean="0">
                <a:solidFill>
                  <a:schemeClr val="accent6"/>
                </a:solidFill>
              </a:rPr>
              <a:t> break </a:t>
            </a:r>
            <a:r>
              <a:rPr lang="de-DE" sz="3600" b="1" dirty="0" err="1" smtClean="0">
                <a:solidFill>
                  <a:schemeClr val="accent6"/>
                </a:solidFill>
              </a:rPr>
              <a:t>the</a:t>
            </a:r>
            <a:r>
              <a:rPr lang="de-DE" sz="3600" b="1" dirty="0" smtClean="0">
                <a:solidFill>
                  <a:schemeClr val="accent6"/>
                </a:solidFill>
              </a:rPr>
              <a:t> </a:t>
            </a:r>
            <a:r>
              <a:rPr lang="de-DE" sz="3600" b="1" dirty="0" err="1" smtClean="0">
                <a:solidFill>
                  <a:schemeClr val="accent6"/>
                </a:solidFill>
              </a:rPr>
              <a:t>system</a:t>
            </a:r>
            <a:r>
              <a:rPr lang="de-DE" sz="3600" b="1" dirty="0" smtClean="0">
                <a:solidFill>
                  <a:schemeClr val="accent6"/>
                </a:solidFill>
              </a:rPr>
              <a:t>, </a:t>
            </a:r>
            <a:r>
              <a:rPr lang="de-DE" sz="3600" b="1" dirty="0" err="1" smtClean="0">
                <a:solidFill>
                  <a:schemeClr val="accent6"/>
                </a:solidFill>
              </a:rPr>
              <a:t>both</a:t>
            </a:r>
            <a:r>
              <a:rPr lang="de-DE" sz="3600" b="1" dirty="0" smtClean="0">
                <a:solidFill>
                  <a:schemeClr val="accent6"/>
                </a:solidFill>
              </a:rPr>
              <a:t> </a:t>
            </a:r>
            <a:r>
              <a:rPr lang="de-DE" sz="3600" b="1" dirty="0" err="1" smtClean="0">
                <a:solidFill>
                  <a:schemeClr val="accent6"/>
                </a:solidFill>
              </a:rPr>
              <a:t>money</a:t>
            </a:r>
            <a:r>
              <a:rPr lang="de-DE" sz="3600" b="1" dirty="0" smtClean="0">
                <a:solidFill>
                  <a:schemeClr val="accent6"/>
                </a:solidFill>
              </a:rPr>
              <a:t> </a:t>
            </a:r>
            <a:r>
              <a:rPr lang="de-DE" sz="3600" b="1" dirty="0" err="1" smtClean="0">
                <a:solidFill>
                  <a:schemeClr val="accent6"/>
                </a:solidFill>
              </a:rPr>
              <a:t>streams</a:t>
            </a:r>
            <a:r>
              <a:rPr lang="de-DE" sz="3600" b="1" dirty="0" smtClean="0">
                <a:solidFill>
                  <a:schemeClr val="accent6"/>
                </a:solidFill>
              </a:rPr>
              <a:t> must </a:t>
            </a:r>
            <a:r>
              <a:rPr lang="de-DE" sz="3600" b="1" dirty="0" err="1" smtClean="0">
                <a:solidFill>
                  <a:schemeClr val="accent6"/>
                </a:solidFill>
              </a:rPr>
              <a:t>be</a:t>
            </a:r>
            <a:r>
              <a:rPr lang="de-DE" sz="3600" b="1" dirty="0" smtClean="0">
                <a:solidFill>
                  <a:schemeClr val="accent6"/>
                </a:solidFill>
              </a:rPr>
              <a:t> </a:t>
            </a:r>
            <a:r>
              <a:rPr lang="de-DE" sz="3600" b="1" dirty="0" err="1" smtClean="0">
                <a:solidFill>
                  <a:schemeClr val="accent6"/>
                </a:solidFill>
              </a:rPr>
              <a:t>reined</a:t>
            </a:r>
            <a:r>
              <a:rPr lang="de-DE" sz="3600" b="1" dirty="0" smtClean="0">
                <a:solidFill>
                  <a:schemeClr val="accent6"/>
                </a:solidFill>
              </a:rPr>
              <a:t> in</a:t>
            </a:r>
            <a:endParaRPr lang="de-DE" sz="3600" dirty="0"/>
          </a:p>
        </p:txBody>
      </p:sp>
      <p:sp>
        <p:nvSpPr>
          <p:cNvPr id="5" name="Inhaltsplatzhalter 2"/>
          <p:cNvSpPr txBox="1">
            <a:spLocks/>
          </p:cNvSpPr>
          <p:nvPr/>
        </p:nvSpPr>
        <p:spPr>
          <a:xfrm>
            <a:off x="419032" y="1692735"/>
            <a:ext cx="4438584"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3200" dirty="0" smtClean="0">
                <a:solidFill>
                  <a:schemeClr val="accent2"/>
                </a:solidFill>
                <a:latin typeface="Arial" panose="020B0604020202020204" pitchFamily="34" charset="0"/>
                <a:cs typeface="Arial" panose="020B0604020202020204" pitchFamily="34" charset="0"/>
              </a:rPr>
              <a:t>OA is (just</a:t>
            </a:r>
            <a:r>
              <a:rPr lang="en-US" sz="3200" dirty="0">
                <a:solidFill>
                  <a:schemeClr val="accent2"/>
                </a:solidFill>
                <a:latin typeface="Arial" panose="020B0604020202020204" pitchFamily="34" charset="0"/>
                <a:cs typeface="Arial" panose="020B0604020202020204" pitchFamily="34" charset="0"/>
              </a:rPr>
              <a:t>)</a:t>
            </a:r>
            <a:r>
              <a:rPr lang="en-US" sz="3200" dirty="0" smtClean="0">
                <a:solidFill>
                  <a:schemeClr val="accent2"/>
                </a:solidFill>
                <a:latin typeface="Arial" panose="020B0604020202020204" pitchFamily="34" charset="0"/>
                <a:cs typeface="Arial" panose="020B0604020202020204" pitchFamily="34" charset="0"/>
              </a:rPr>
              <a:t> the next step in the evolution </a:t>
            </a:r>
            <a:br>
              <a:rPr lang="en-US" sz="3200" dirty="0" smtClean="0">
                <a:solidFill>
                  <a:schemeClr val="accent2"/>
                </a:solidFill>
                <a:latin typeface="Arial" panose="020B0604020202020204" pitchFamily="34" charset="0"/>
                <a:cs typeface="Arial" panose="020B0604020202020204" pitchFamily="34" charset="0"/>
              </a:rPr>
            </a:br>
            <a:r>
              <a:rPr lang="en-US" sz="3200" dirty="0" smtClean="0">
                <a:solidFill>
                  <a:schemeClr val="accent2"/>
                </a:solidFill>
                <a:latin typeface="Arial" panose="020B0604020202020204" pitchFamily="34" charset="0"/>
                <a:cs typeface="Arial" panose="020B0604020202020204" pitchFamily="34" charset="0"/>
              </a:rPr>
              <a:t>of licensing</a:t>
            </a:r>
            <a:endParaRPr lang="de-DE" sz="4800" dirty="0">
              <a:solidFill>
                <a:schemeClr val="accent2"/>
              </a:solidFill>
              <a:latin typeface="Arial" panose="020B0604020202020204" pitchFamily="34" charset="0"/>
              <a:cs typeface="Arial" panose="020B0604020202020204" pitchFamily="34" charset="0"/>
            </a:endParaRPr>
          </a:p>
        </p:txBody>
      </p:sp>
      <p:sp>
        <p:nvSpPr>
          <p:cNvPr id="8" name="Freihandform 7"/>
          <p:cNvSpPr/>
          <p:nvPr/>
        </p:nvSpPr>
        <p:spPr>
          <a:xfrm rot="20983708">
            <a:off x="7857948" y="3339212"/>
            <a:ext cx="576860" cy="1239170"/>
          </a:xfrm>
          <a:custGeom>
            <a:avLst/>
            <a:gdLst>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2992 w 7780257"/>
              <a:gd name="connsiteY37" fmla="*/ 2855934 h 3757808"/>
              <a:gd name="connsiteX38" fmla="*/ 2649255 w 7780257"/>
              <a:gd name="connsiteY38" fmla="*/ 2968668 h 3757808"/>
              <a:gd name="connsiteX39" fmla="*/ 2743200 w 7780257"/>
              <a:gd name="connsiteY39" fmla="*/ 2931090 h 3757808"/>
              <a:gd name="connsiteX40" fmla="*/ 2686833 w 7780257"/>
              <a:gd name="connsiteY40" fmla="*/ 2824619 h 3757808"/>
              <a:gd name="connsiteX41" fmla="*/ 2636729 w 7780257"/>
              <a:gd name="connsiteY41" fmla="*/ 2812093 h 3757808"/>
              <a:gd name="connsiteX42" fmla="*/ 2542784 w 7780257"/>
              <a:gd name="connsiteY42" fmla="*/ 2855934 h 3757808"/>
              <a:gd name="connsiteX43" fmla="*/ 2730674 w 7780257"/>
              <a:gd name="connsiteY43" fmla="*/ 2874723 h 3757808"/>
              <a:gd name="connsiteX44" fmla="*/ 2780778 w 7780257"/>
              <a:gd name="connsiteY44" fmla="*/ 2887249 h 3757808"/>
              <a:gd name="connsiteX45" fmla="*/ 2874723 w 7780257"/>
              <a:gd name="connsiteY45" fmla="*/ 2937353 h 3757808"/>
              <a:gd name="connsiteX46" fmla="*/ 2931090 w 7780257"/>
              <a:gd name="connsiteY46" fmla="*/ 3018772 h 3757808"/>
              <a:gd name="connsiteX47" fmla="*/ 2931090 w 7780257"/>
              <a:gd name="connsiteY47"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86833 w 7780257"/>
              <a:gd name="connsiteY39" fmla="*/ 2824619 h 3757808"/>
              <a:gd name="connsiteX40" fmla="*/ 2636729 w 7780257"/>
              <a:gd name="connsiteY40" fmla="*/ 2812093 h 3757808"/>
              <a:gd name="connsiteX41" fmla="*/ 2542784 w 7780257"/>
              <a:gd name="connsiteY41" fmla="*/ 2855934 h 3757808"/>
              <a:gd name="connsiteX42" fmla="*/ 2730674 w 7780257"/>
              <a:gd name="connsiteY42" fmla="*/ 2874723 h 3757808"/>
              <a:gd name="connsiteX43" fmla="*/ 2780778 w 7780257"/>
              <a:gd name="connsiteY43" fmla="*/ 2887249 h 3757808"/>
              <a:gd name="connsiteX44" fmla="*/ 2874723 w 7780257"/>
              <a:gd name="connsiteY44" fmla="*/ 2937353 h 3757808"/>
              <a:gd name="connsiteX45" fmla="*/ 2931090 w 7780257"/>
              <a:gd name="connsiteY45" fmla="*/ 3018772 h 3757808"/>
              <a:gd name="connsiteX46" fmla="*/ 2931090 w 7780257"/>
              <a:gd name="connsiteY46"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36729 w 7780257"/>
              <a:gd name="connsiteY39" fmla="*/ 2812093 h 3757808"/>
              <a:gd name="connsiteX40" fmla="*/ 2542784 w 7780257"/>
              <a:gd name="connsiteY40" fmla="*/ 2855934 h 3757808"/>
              <a:gd name="connsiteX41" fmla="*/ 2730674 w 7780257"/>
              <a:gd name="connsiteY41" fmla="*/ 2874723 h 3757808"/>
              <a:gd name="connsiteX42" fmla="*/ 2780778 w 7780257"/>
              <a:gd name="connsiteY42" fmla="*/ 2887249 h 3757808"/>
              <a:gd name="connsiteX43" fmla="*/ 2874723 w 7780257"/>
              <a:gd name="connsiteY43" fmla="*/ 2937353 h 3757808"/>
              <a:gd name="connsiteX44" fmla="*/ 2931090 w 7780257"/>
              <a:gd name="connsiteY44" fmla="*/ 3018772 h 3757808"/>
              <a:gd name="connsiteX45" fmla="*/ 2931090 w 7780257"/>
              <a:gd name="connsiteY45"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743200 w 7780257"/>
              <a:gd name="connsiteY37" fmla="*/ 2931090 h 3757808"/>
              <a:gd name="connsiteX38" fmla="*/ 2636729 w 7780257"/>
              <a:gd name="connsiteY38" fmla="*/ 2812093 h 3757808"/>
              <a:gd name="connsiteX39" fmla="*/ 2542784 w 7780257"/>
              <a:gd name="connsiteY39" fmla="*/ 2855934 h 3757808"/>
              <a:gd name="connsiteX40" fmla="*/ 2730674 w 7780257"/>
              <a:gd name="connsiteY40" fmla="*/ 2874723 h 3757808"/>
              <a:gd name="connsiteX41" fmla="*/ 2780778 w 7780257"/>
              <a:gd name="connsiteY41" fmla="*/ 2887249 h 3757808"/>
              <a:gd name="connsiteX42" fmla="*/ 2874723 w 7780257"/>
              <a:gd name="connsiteY42" fmla="*/ 2937353 h 3757808"/>
              <a:gd name="connsiteX43" fmla="*/ 2931090 w 7780257"/>
              <a:gd name="connsiteY43" fmla="*/ 3018772 h 3757808"/>
              <a:gd name="connsiteX44" fmla="*/ 2931090 w 7780257"/>
              <a:gd name="connsiteY44"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36729 w 7780257"/>
              <a:gd name="connsiteY37" fmla="*/ 2812093 h 3757808"/>
              <a:gd name="connsiteX38" fmla="*/ 2542784 w 7780257"/>
              <a:gd name="connsiteY38" fmla="*/ 2855934 h 3757808"/>
              <a:gd name="connsiteX39" fmla="*/ 2730674 w 7780257"/>
              <a:gd name="connsiteY39" fmla="*/ 2874723 h 3757808"/>
              <a:gd name="connsiteX40" fmla="*/ 2780778 w 7780257"/>
              <a:gd name="connsiteY40" fmla="*/ 2887249 h 3757808"/>
              <a:gd name="connsiteX41" fmla="*/ 2874723 w 7780257"/>
              <a:gd name="connsiteY41" fmla="*/ 2937353 h 3757808"/>
              <a:gd name="connsiteX42" fmla="*/ 2931090 w 7780257"/>
              <a:gd name="connsiteY42" fmla="*/ 3018772 h 3757808"/>
              <a:gd name="connsiteX43" fmla="*/ 2931090 w 7780257"/>
              <a:gd name="connsiteY43"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542784 w 7780257"/>
              <a:gd name="connsiteY37" fmla="*/ 2855934 h 3757808"/>
              <a:gd name="connsiteX38" fmla="*/ 2730674 w 7780257"/>
              <a:gd name="connsiteY38" fmla="*/ 2874723 h 3757808"/>
              <a:gd name="connsiteX39" fmla="*/ 2780778 w 7780257"/>
              <a:gd name="connsiteY39" fmla="*/ 2887249 h 3757808"/>
              <a:gd name="connsiteX40" fmla="*/ 2874723 w 7780257"/>
              <a:gd name="connsiteY40" fmla="*/ 2937353 h 3757808"/>
              <a:gd name="connsiteX41" fmla="*/ 2931090 w 7780257"/>
              <a:gd name="connsiteY41" fmla="*/ 3018772 h 3757808"/>
              <a:gd name="connsiteX42" fmla="*/ 2931090 w 7780257"/>
              <a:gd name="connsiteY42"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492679 w 7780257"/>
              <a:gd name="connsiteY36" fmla="*/ 287472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730674 w 7780257"/>
              <a:gd name="connsiteY36" fmla="*/ 287472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937353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05205 w 7780257"/>
              <a:gd name="connsiteY35" fmla="*/ 2799567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931090 w 7780257"/>
              <a:gd name="connsiteY38"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517732 w 7780257"/>
              <a:gd name="connsiteY38"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517732 w 7780257"/>
              <a:gd name="connsiteY37"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2935373 w 10715630"/>
              <a:gd name="connsiteY0" fmla="*/ 3757808 h 3799348"/>
              <a:gd name="connsiteX1" fmla="*/ 0 w 10715630"/>
              <a:gd name="connsiteY1" fmla="*/ 3799348 h 3799348"/>
              <a:gd name="connsiteX2" fmla="*/ 3968770 w 10715630"/>
              <a:gd name="connsiteY2" fmla="*/ 3739019 h 3799348"/>
              <a:gd name="connsiteX3" fmla="*/ 4162924 w 10715630"/>
              <a:gd name="connsiteY3" fmla="*/ 3720230 h 3799348"/>
              <a:gd name="connsiteX4" fmla="*/ 4344551 w 10715630"/>
              <a:gd name="connsiteY4" fmla="*/ 3682652 h 3799348"/>
              <a:gd name="connsiteX5" fmla="*/ 4876907 w 10715630"/>
              <a:gd name="connsiteY5" fmla="*/ 3482235 h 3799348"/>
              <a:gd name="connsiteX6" fmla="*/ 5321581 w 10715630"/>
              <a:gd name="connsiteY6" fmla="*/ 3156559 h 3799348"/>
              <a:gd name="connsiteX7" fmla="*/ 5634732 w 10715630"/>
              <a:gd name="connsiteY7" fmla="*/ 2774515 h 3799348"/>
              <a:gd name="connsiteX8" fmla="*/ 5716151 w 10715630"/>
              <a:gd name="connsiteY8" fmla="*/ 2617939 h 3799348"/>
              <a:gd name="connsiteX9" fmla="*/ 5866463 w 10715630"/>
              <a:gd name="connsiteY9" fmla="*/ 2254685 h 3799348"/>
              <a:gd name="connsiteX10" fmla="*/ 5997987 w 10715630"/>
              <a:gd name="connsiteY10" fmla="*/ 1803748 h 3799348"/>
              <a:gd name="connsiteX11" fmla="*/ 6411346 w 10715630"/>
              <a:gd name="connsiteY11" fmla="*/ 1108553 h 3799348"/>
              <a:gd name="connsiteX12" fmla="*/ 6693181 w 10715630"/>
              <a:gd name="connsiteY12" fmla="*/ 770350 h 3799348"/>
              <a:gd name="connsiteX13" fmla="*/ 6843494 w 10715630"/>
              <a:gd name="connsiteY13" fmla="*/ 632564 h 3799348"/>
              <a:gd name="connsiteX14" fmla="*/ 7306957 w 10715630"/>
              <a:gd name="connsiteY14" fmla="*/ 319413 h 3799348"/>
              <a:gd name="connsiteX15" fmla="*/ 7826787 w 10715630"/>
              <a:gd name="connsiteY15" fmla="*/ 112734 h 3799348"/>
              <a:gd name="connsiteX16" fmla="*/ 8071044 w 10715630"/>
              <a:gd name="connsiteY16" fmla="*/ 43841 h 3799348"/>
              <a:gd name="connsiteX17" fmla="*/ 8534507 w 10715630"/>
              <a:gd name="connsiteY17" fmla="*/ 0 h 3799348"/>
              <a:gd name="connsiteX18" fmla="*/ 9142020 w 10715630"/>
              <a:gd name="connsiteY18" fmla="*/ 31315 h 3799348"/>
              <a:gd name="connsiteX19" fmla="*/ 9386277 w 10715630"/>
              <a:gd name="connsiteY19" fmla="*/ 93945 h 3799348"/>
              <a:gd name="connsiteX20" fmla="*/ 9592957 w 10715630"/>
              <a:gd name="connsiteY20" fmla="*/ 169101 h 3799348"/>
              <a:gd name="connsiteX21" fmla="*/ 9981263 w 10715630"/>
              <a:gd name="connsiteY21" fmla="*/ 375781 h 3799348"/>
              <a:gd name="connsiteX22" fmla="*/ 10425937 w 10715630"/>
              <a:gd name="connsiteY22" fmla="*/ 751561 h 3799348"/>
              <a:gd name="connsiteX23" fmla="*/ 10670195 w 10715630"/>
              <a:gd name="connsiteY23" fmla="*/ 1240076 h 3799348"/>
              <a:gd name="connsiteX24" fmla="*/ 10714036 w 10715630"/>
              <a:gd name="connsiteY24" fmla="*/ 1791222 h 3799348"/>
              <a:gd name="connsiteX25" fmla="*/ 10707773 w 10715630"/>
              <a:gd name="connsiteY25" fmla="*/ 2035479 h 3799348"/>
              <a:gd name="connsiteX26" fmla="*/ 10632617 w 10715630"/>
              <a:gd name="connsiteY26" fmla="*/ 2311052 h 3799348"/>
              <a:gd name="connsiteX27" fmla="*/ 10432200 w 10715630"/>
              <a:gd name="connsiteY27" fmla="*/ 2680570 h 3799348"/>
              <a:gd name="connsiteX28" fmla="*/ 10269362 w 10715630"/>
              <a:gd name="connsiteY28" fmla="*/ 2843408 h 3799348"/>
              <a:gd name="connsiteX29" fmla="*/ 10012578 w 10715630"/>
              <a:gd name="connsiteY29" fmla="*/ 2987457 h 3799348"/>
              <a:gd name="connsiteX30" fmla="*/ 9430118 w 10715630"/>
              <a:gd name="connsiteY30" fmla="*/ 3118981 h 3799348"/>
              <a:gd name="connsiteX31" fmla="*/ 8496929 w 10715630"/>
              <a:gd name="connsiteY31" fmla="*/ 3106455 h 3799348"/>
              <a:gd name="connsiteX32" fmla="*/ 7632633 w 10715630"/>
              <a:gd name="connsiteY32" fmla="*/ 3043824 h 3799348"/>
              <a:gd name="connsiteX33" fmla="*/ 7106540 w 10715630"/>
              <a:gd name="connsiteY33" fmla="*/ 2974931 h 3799348"/>
              <a:gd name="connsiteX34" fmla="*/ 5634732 w 10715630"/>
              <a:gd name="connsiteY34" fmla="*/ 2812093 h 3799348"/>
              <a:gd name="connsiteX35" fmla="*/ 5484420 w 10715630"/>
              <a:gd name="connsiteY35" fmla="*/ 2943616 h 3799348"/>
              <a:gd name="connsiteX36" fmla="*/ 5778781 w 10715630"/>
              <a:gd name="connsiteY36" fmla="*/ 2999983 h 3799348"/>
              <a:gd name="connsiteX37" fmla="*/ 5246425 w 10715630"/>
              <a:gd name="connsiteY37"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344551 w 10715630"/>
              <a:gd name="connsiteY3" fmla="*/ 3682652 h 3799348"/>
              <a:gd name="connsiteX4" fmla="*/ 4876907 w 10715630"/>
              <a:gd name="connsiteY4" fmla="*/ 3482235 h 3799348"/>
              <a:gd name="connsiteX5" fmla="*/ 5321581 w 10715630"/>
              <a:gd name="connsiteY5" fmla="*/ 3156559 h 3799348"/>
              <a:gd name="connsiteX6" fmla="*/ 5634732 w 10715630"/>
              <a:gd name="connsiteY6" fmla="*/ 2774515 h 3799348"/>
              <a:gd name="connsiteX7" fmla="*/ 5716151 w 10715630"/>
              <a:gd name="connsiteY7" fmla="*/ 2617939 h 3799348"/>
              <a:gd name="connsiteX8" fmla="*/ 5866463 w 10715630"/>
              <a:gd name="connsiteY8" fmla="*/ 2254685 h 3799348"/>
              <a:gd name="connsiteX9" fmla="*/ 5997987 w 10715630"/>
              <a:gd name="connsiteY9" fmla="*/ 1803748 h 3799348"/>
              <a:gd name="connsiteX10" fmla="*/ 6411346 w 10715630"/>
              <a:gd name="connsiteY10" fmla="*/ 1108553 h 3799348"/>
              <a:gd name="connsiteX11" fmla="*/ 6693181 w 10715630"/>
              <a:gd name="connsiteY11" fmla="*/ 770350 h 3799348"/>
              <a:gd name="connsiteX12" fmla="*/ 6843494 w 10715630"/>
              <a:gd name="connsiteY12" fmla="*/ 632564 h 3799348"/>
              <a:gd name="connsiteX13" fmla="*/ 7306957 w 10715630"/>
              <a:gd name="connsiteY13" fmla="*/ 319413 h 3799348"/>
              <a:gd name="connsiteX14" fmla="*/ 7826787 w 10715630"/>
              <a:gd name="connsiteY14" fmla="*/ 112734 h 3799348"/>
              <a:gd name="connsiteX15" fmla="*/ 8071044 w 10715630"/>
              <a:gd name="connsiteY15" fmla="*/ 43841 h 3799348"/>
              <a:gd name="connsiteX16" fmla="*/ 8534507 w 10715630"/>
              <a:gd name="connsiteY16" fmla="*/ 0 h 3799348"/>
              <a:gd name="connsiteX17" fmla="*/ 9142020 w 10715630"/>
              <a:gd name="connsiteY17" fmla="*/ 31315 h 3799348"/>
              <a:gd name="connsiteX18" fmla="*/ 9386277 w 10715630"/>
              <a:gd name="connsiteY18" fmla="*/ 93945 h 3799348"/>
              <a:gd name="connsiteX19" fmla="*/ 9592957 w 10715630"/>
              <a:gd name="connsiteY19" fmla="*/ 169101 h 3799348"/>
              <a:gd name="connsiteX20" fmla="*/ 9981263 w 10715630"/>
              <a:gd name="connsiteY20" fmla="*/ 375781 h 3799348"/>
              <a:gd name="connsiteX21" fmla="*/ 10425937 w 10715630"/>
              <a:gd name="connsiteY21" fmla="*/ 751561 h 3799348"/>
              <a:gd name="connsiteX22" fmla="*/ 10670195 w 10715630"/>
              <a:gd name="connsiteY22" fmla="*/ 1240076 h 3799348"/>
              <a:gd name="connsiteX23" fmla="*/ 10714036 w 10715630"/>
              <a:gd name="connsiteY23" fmla="*/ 1791222 h 3799348"/>
              <a:gd name="connsiteX24" fmla="*/ 10707773 w 10715630"/>
              <a:gd name="connsiteY24" fmla="*/ 2035479 h 3799348"/>
              <a:gd name="connsiteX25" fmla="*/ 10632617 w 10715630"/>
              <a:gd name="connsiteY25" fmla="*/ 2311052 h 3799348"/>
              <a:gd name="connsiteX26" fmla="*/ 10432200 w 10715630"/>
              <a:gd name="connsiteY26" fmla="*/ 2680570 h 3799348"/>
              <a:gd name="connsiteX27" fmla="*/ 10269362 w 10715630"/>
              <a:gd name="connsiteY27" fmla="*/ 2843408 h 3799348"/>
              <a:gd name="connsiteX28" fmla="*/ 10012578 w 10715630"/>
              <a:gd name="connsiteY28" fmla="*/ 2987457 h 3799348"/>
              <a:gd name="connsiteX29" fmla="*/ 9430118 w 10715630"/>
              <a:gd name="connsiteY29" fmla="*/ 3118981 h 3799348"/>
              <a:gd name="connsiteX30" fmla="*/ 8496929 w 10715630"/>
              <a:gd name="connsiteY30" fmla="*/ 3106455 h 3799348"/>
              <a:gd name="connsiteX31" fmla="*/ 7632633 w 10715630"/>
              <a:gd name="connsiteY31" fmla="*/ 3043824 h 3799348"/>
              <a:gd name="connsiteX32" fmla="*/ 7106540 w 10715630"/>
              <a:gd name="connsiteY32" fmla="*/ 2974931 h 3799348"/>
              <a:gd name="connsiteX33" fmla="*/ 5634732 w 10715630"/>
              <a:gd name="connsiteY33" fmla="*/ 2812093 h 3799348"/>
              <a:gd name="connsiteX34" fmla="*/ 5484420 w 10715630"/>
              <a:gd name="connsiteY34" fmla="*/ 2943616 h 3799348"/>
              <a:gd name="connsiteX35" fmla="*/ 5778781 w 10715630"/>
              <a:gd name="connsiteY35" fmla="*/ 2999983 h 3799348"/>
              <a:gd name="connsiteX36" fmla="*/ 5246425 w 10715630"/>
              <a:gd name="connsiteY36"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876907 w 10715630"/>
              <a:gd name="connsiteY3" fmla="*/ 3482235 h 3799348"/>
              <a:gd name="connsiteX4" fmla="*/ 5321581 w 10715630"/>
              <a:gd name="connsiteY4" fmla="*/ 3156559 h 3799348"/>
              <a:gd name="connsiteX5" fmla="*/ 5634732 w 10715630"/>
              <a:gd name="connsiteY5" fmla="*/ 2774515 h 3799348"/>
              <a:gd name="connsiteX6" fmla="*/ 5716151 w 10715630"/>
              <a:gd name="connsiteY6" fmla="*/ 2617939 h 3799348"/>
              <a:gd name="connsiteX7" fmla="*/ 5866463 w 10715630"/>
              <a:gd name="connsiteY7" fmla="*/ 2254685 h 3799348"/>
              <a:gd name="connsiteX8" fmla="*/ 5997987 w 10715630"/>
              <a:gd name="connsiteY8" fmla="*/ 1803748 h 3799348"/>
              <a:gd name="connsiteX9" fmla="*/ 6411346 w 10715630"/>
              <a:gd name="connsiteY9" fmla="*/ 1108553 h 3799348"/>
              <a:gd name="connsiteX10" fmla="*/ 6693181 w 10715630"/>
              <a:gd name="connsiteY10" fmla="*/ 770350 h 3799348"/>
              <a:gd name="connsiteX11" fmla="*/ 6843494 w 10715630"/>
              <a:gd name="connsiteY11" fmla="*/ 632564 h 3799348"/>
              <a:gd name="connsiteX12" fmla="*/ 7306957 w 10715630"/>
              <a:gd name="connsiteY12" fmla="*/ 319413 h 3799348"/>
              <a:gd name="connsiteX13" fmla="*/ 7826787 w 10715630"/>
              <a:gd name="connsiteY13" fmla="*/ 112734 h 3799348"/>
              <a:gd name="connsiteX14" fmla="*/ 8071044 w 10715630"/>
              <a:gd name="connsiteY14" fmla="*/ 43841 h 3799348"/>
              <a:gd name="connsiteX15" fmla="*/ 8534507 w 10715630"/>
              <a:gd name="connsiteY15" fmla="*/ 0 h 3799348"/>
              <a:gd name="connsiteX16" fmla="*/ 9142020 w 10715630"/>
              <a:gd name="connsiteY16" fmla="*/ 31315 h 3799348"/>
              <a:gd name="connsiteX17" fmla="*/ 9386277 w 10715630"/>
              <a:gd name="connsiteY17" fmla="*/ 93945 h 3799348"/>
              <a:gd name="connsiteX18" fmla="*/ 9592957 w 10715630"/>
              <a:gd name="connsiteY18" fmla="*/ 169101 h 3799348"/>
              <a:gd name="connsiteX19" fmla="*/ 9981263 w 10715630"/>
              <a:gd name="connsiteY19" fmla="*/ 375781 h 3799348"/>
              <a:gd name="connsiteX20" fmla="*/ 10425937 w 10715630"/>
              <a:gd name="connsiteY20" fmla="*/ 751561 h 3799348"/>
              <a:gd name="connsiteX21" fmla="*/ 10670195 w 10715630"/>
              <a:gd name="connsiteY21" fmla="*/ 1240076 h 3799348"/>
              <a:gd name="connsiteX22" fmla="*/ 10714036 w 10715630"/>
              <a:gd name="connsiteY22" fmla="*/ 1791222 h 3799348"/>
              <a:gd name="connsiteX23" fmla="*/ 10707773 w 10715630"/>
              <a:gd name="connsiteY23" fmla="*/ 2035479 h 3799348"/>
              <a:gd name="connsiteX24" fmla="*/ 10632617 w 10715630"/>
              <a:gd name="connsiteY24" fmla="*/ 2311052 h 3799348"/>
              <a:gd name="connsiteX25" fmla="*/ 10432200 w 10715630"/>
              <a:gd name="connsiteY25" fmla="*/ 2680570 h 3799348"/>
              <a:gd name="connsiteX26" fmla="*/ 10269362 w 10715630"/>
              <a:gd name="connsiteY26" fmla="*/ 2843408 h 3799348"/>
              <a:gd name="connsiteX27" fmla="*/ 10012578 w 10715630"/>
              <a:gd name="connsiteY27" fmla="*/ 2987457 h 3799348"/>
              <a:gd name="connsiteX28" fmla="*/ 9430118 w 10715630"/>
              <a:gd name="connsiteY28" fmla="*/ 3118981 h 3799348"/>
              <a:gd name="connsiteX29" fmla="*/ 8496929 w 10715630"/>
              <a:gd name="connsiteY29" fmla="*/ 3106455 h 3799348"/>
              <a:gd name="connsiteX30" fmla="*/ 7632633 w 10715630"/>
              <a:gd name="connsiteY30" fmla="*/ 3043824 h 3799348"/>
              <a:gd name="connsiteX31" fmla="*/ 7106540 w 10715630"/>
              <a:gd name="connsiteY31" fmla="*/ 2974931 h 3799348"/>
              <a:gd name="connsiteX32" fmla="*/ 5634732 w 10715630"/>
              <a:gd name="connsiteY32" fmla="*/ 2812093 h 3799348"/>
              <a:gd name="connsiteX33" fmla="*/ 5484420 w 10715630"/>
              <a:gd name="connsiteY33" fmla="*/ 2943616 h 3799348"/>
              <a:gd name="connsiteX34" fmla="*/ 5778781 w 10715630"/>
              <a:gd name="connsiteY34" fmla="*/ 2999983 h 3799348"/>
              <a:gd name="connsiteX35" fmla="*/ 5246425 w 10715630"/>
              <a:gd name="connsiteY35"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5321581 w 10715630"/>
              <a:gd name="connsiteY3" fmla="*/ 3156559 h 3799348"/>
              <a:gd name="connsiteX4" fmla="*/ 5634732 w 10715630"/>
              <a:gd name="connsiteY4" fmla="*/ 2774515 h 3799348"/>
              <a:gd name="connsiteX5" fmla="*/ 5716151 w 10715630"/>
              <a:gd name="connsiteY5" fmla="*/ 2617939 h 3799348"/>
              <a:gd name="connsiteX6" fmla="*/ 5866463 w 10715630"/>
              <a:gd name="connsiteY6" fmla="*/ 2254685 h 3799348"/>
              <a:gd name="connsiteX7" fmla="*/ 5997987 w 10715630"/>
              <a:gd name="connsiteY7" fmla="*/ 1803748 h 3799348"/>
              <a:gd name="connsiteX8" fmla="*/ 6411346 w 10715630"/>
              <a:gd name="connsiteY8" fmla="*/ 1108553 h 3799348"/>
              <a:gd name="connsiteX9" fmla="*/ 6693181 w 10715630"/>
              <a:gd name="connsiteY9" fmla="*/ 770350 h 3799348"/>
              <a:gd name="connsiteX10" fmla="*/ 6843494 w 10715630"/>
              <a:gd name="connsiteY10" fmla="*/ 632564 h 3799348"/>
              <a:gd name="connsiteX11" fmla="*/ 7306957 w 10715630"/>
              <a:gd name="connsiteY11" fmla="*/ 319413 h 3799348"/>
              <a:gd name="connsiteX12" fmla="*/ 7826787 w 10715630"/>
              <a:gd name="connsiteY12" fmla="*/ 112734 h 3799348"/>
              <a:gd name="connsiteX13" fmla="*/ 8071044 w 10715630"/>
              <a:gd name="connsiteY13" fmla="*/ 43841 h 3799348"/>
              <a:gd name="connsiteX14" fmla="*/ 8534507 w 10715630"/>
              <a:gd name="connsiteY14" fmla="*/ 0 h 3799348"/>
              <a:gd name="connsiteX15" fmla="*/ 9142020 w 10715630"/>
              <a:gd name="connsiteY15" fmla="*/ 31315 h 3799348"/>
              <a:gd name="connsiteX16" fmla="*/ 9386277 w 10715630"/>
              <a:gd name="connsiteY16" fmla="*/ 93945 h 3799348"/>
              <a:gd name="connsiteX17" fmla="*/ 9592957 w 10715630"/>
              <a:gd name="connsiteY17" fmla="*/ 169101 h 3799348"/>
              <a:gd name="connsiteX18" fmla="*/ 9981263 w 10715630"/>
              <a:gd name="connsiteY18" fmla="*/ 375781 h 3799348"/>
              <a:gd name="connsiteX19" fmla="*/ 10425937 w 10715630"/>
              <a:gd name="connsiteY19" fmla="*/ 751561 h 3799348"/>
              <a:gd name="connsiteX20" fmla="*/ 10670195 w 10715630"/>
              <a:gd name="connsiteY20" fmla="*/ 1240076 h 3799348"/>
              <a:gd name="connsiteX21" fmla="*/ 10714036 w 10715630"/>
              <a:gd name="connsiteY21" fmla="*/ 1791222 h 3799348"/>
              <a:gd name="connsiteX22" fmla="*/ 10707773 w 10715630"/>
              <a:gd name="connsiteY22" fmla="*/ 2035479 h 3799348"/>
              <a:gd name="connsiteX23" fmla="*/ 10632617 w 10715630"/>
              <a:gd name="connsiteY23" fmla="*/ 2311052 h 3799348"/>
              <a:gd name="connsiteX24" fmla="*/ 10432200 w 10715630"/>
              <a:gd name="connsiteY24" fmla="*/ 2680570 h 3799348"/>
              <a:gd name="connsiteX25" fmla="*/ 10269362 w 10715630"/>
              <a:gd name="connsiteY25" fmla="*/ 2843408 h 3799348"/>
              <a:gd name="connsiteX26" fmla="*/ 10012578 w 10715630"/>
              <a:gd name="connsiteY26" fmla="*/ 2987457 h 3799348"/>
              <a:gd name="connsiteX27" fmla="*/ 9430118 w 10715630"/>
              <a:gd name="connsiteY27" fmla="*/ 3118981 h 3799348"/>
              <a:gd name="connsiteX28" fmla="*/ 8496929 w 10715630"/>
              <a:gd name="connsiteY28" fmla="*/ 3106455 h 3799348"/>
              <a:gd name="connsiteX29" fmla="*/ 7632633 w 10715630"/>
              <a:gd name="connsiteY29" fmla="*/ 3043824 h 3799348"/>
              <a:gd name="connsiteX30" fmla="*/ 7106540 w 10715630"/>
              <a:gd name="connsiteY30" fmla="*/ 2974931 h 3799348"/>
              <a:gd name="connsiteX31" fmla="*/ 5634732 w 10715630"/>
              <a:gd name="connsiteY31" fmla="*/ 2812093 h 3799348"/>
              <a:gd name="connsiteX32" fmla="*/ 5484420 w 10715630"/>
              <a:gd name="connsiteY32" fmla="*/ 2943616 h 3799348"/>
              <a:gd name="connsiteX33" fmla="*/ 5778781 w 10715630"/>
              <a:gd name="connsiteY33" fmla="*/ 2999983 h 3799348"/>
              <a:gd name="connsiteX34" fmla="*/ 5246425 w 10715630"/>
              <a:gd name="connsiteY34" fmla="*/ 2711885 h 3799348"/>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716151 w 10715630"/>
              <a:gd name="connsiteY4" fmla="*/ 2617939 h 3828276"/>
              <a:gd name="connsiteX5" fmla="*/ 5866463 w 10715630"/>
              <a:gd name="connsiteY5" fmla="*/ 2254685 h 3828276"/>
              <a:gd name="connsiteX6" fmla="*/ 5997987 w 10715630"/>
              <a:gd name="connsiteY6" fmla="*/ 1803748 h 3828276"/>
              <a:gd name="connsiteX7" fmla="*/ 6411346 w 10715630"/>
              <a:gd name="connsiteY7" fmla="*/ 1108553 h 3828276"/>
              <a:gd name="connsiteX8" fmla="*/ 6693181 w 10715630"/>
              <a:gd name="connsiteY8" fmla="*/ 770350 h 3828276"/>
              <a:gd name="connsiteX9" fmla="*/ 6843494 w 10715630"/>
              <a:gd name="connsiteY9" fmla="*/ 632564 h 3828276"/>
              <a:gd name="connsiteX10" fmla="*/ 7306957 w 10715630"/>
              <a:gd name="connsiteY10" fmla="*/ 319413 h 3828276"/>
              <a:gd name="connsiteX11" fmla="*/ 7826787 w 10715630"/>
              <a:gd name="connsiteY11" fmla="*/ 112734 h 3828276"/>
              <a:gd name="connsiteX12" fmla="*/ 8071044 w 10715630"/>
              <a:gd name="connsiteY12" fmla="*/ 43841 h 3828276"/>
              <a:gd name="connsiteX13" fmla="*/ 8534507 w 10715630"/>
              <a:gd name="connsiteY13" fmla="*/ 0 h 3828276"/>
              <a:gd name="connsiteX14" fmla="*/ 9142020 w 10715630"/>
              <a:gd name="connsiteY14" fmla="*/ 31315 h 3828276"/>
              <a:gd name="connsiteX15" fmla="*/ 9386277 w 10715630"/>
              <a:gd name="connsiteY15" fmla="*/ 93945 h 3828276"/>
              <a:gd name="connsiteX16" fmla="*/ 9592957 w 10715630"/>
              <a:gd name="connsiteY16" fmla="*/ 169101 h 3828276"/>
              <a:gd name="connsiteX17" fmla="*/ 9981263 w 10715630"/>
              <a:gd name="connsiteY17" fmla="*/ 375781 h 3828276"/>
              <a:gd name="connsiteX18" fmla="*/ 10425937 w 10715630"/>
              <a:gd name="connsiteY18" fmla="*/ 751561 h 3828276"/>
              <a:gd name="connsiteX19" fmla="*/ 10670195 w 10715630"/>
              <a:gd name="connsiteY19" fmla="*/ 1240076 h 3828276"/>
              <a:gd name="connsiteX20" fmla="*/ 10714036 w 10715630"/>
              <a:gd name="connsiteY20" fmla="*/ 1791222 h 3828276"/>
              <a:gd name="connsiteX21" fmla="*/ 10707773 w 10715630"/>
              <a:gd name="connsiteY21" fmla="*/ 2035479 h 3828276"/>
              <a:gd name="connsiteX22" fmla="*/ 10632617 w 10715630"/>
              <a:gd name="connsiteY22" fmla="*/ 2311052 h 3828276"/>
              <a:gd name="connsiteX23" fmla="*/ 10432200 w 10715630"/>
              <a:gd name="connsiteY23" fmla="*/ 2680570 h 3828276"/>
              <a:gd name="connsiteX24" fmla="*/ 10269362 w 10715630"/>
              <a:gd name="connsiteY24" fmla="*/ 2843408 h 3828276"/>
              <a:gd name="connsiteX25" fmla="*/ 10012578 w 10715630"/>
              <a:gd name="connsiteY25" fmla="*/ 2987457 h 3828276"/>
              <a:gd name="connsiteX26" fmla="*/ 9430118 w 10715630"/>
              <a:gd name="connsiteY26" fmla="*/ 3118981 h 3828276"/>
              <a:gd name="connsiteX27" fmla="*/ 8496929 w 10715630"/>
              <a:gd name="connsiteY27" fmla="*/ 3106455 h 3828276"/>
              <a:gd name="connsiteX28" fmla="*/ 7632633 w 10715630"/>
              <a:gd name="connsiteY28" fmla="*/ 3043824 h 3828276"/>
              <a:gd name="connsiteX29" fmla="*/ 7106540 w 10715630"/>
              <a:gd name="connsiteY29" fmla="*/ 2974931 h 3828276"/>
              <a:gd name="connsiteX30" fmla="*/ 5634732 w 10715630"/>
              <a:gd name="connsiteY30" fmla="*/ 2812093 h 3828276"/>
              <a:gd name="connsiteX31" fmla="*/ 5484420 w 10715630"/>
              <a:gd name="connsiteY31" fmla="*/ 2943616 h 3828276"/>
              <a:gd name="connsiteX32" fmla="*/ 5778781 w 10715630"/>
              <a:gd name="connsiteY32" fmla="*/ 2999983 h 3828276"/>
              <a:gd name="connsiteX33" fmla="*/ 5246425 w 10715630"/>
              <a:gd name="connsiteY33" fmla="*/ 2711885 h 3828276"/>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866463 w 10715630"/>
              <a:gd name="connsiteY4" fmla="*/ 2254685 h 3828276"/>
              <a:gd name="connsiteX5" fmla="*/ 5997987 w 10715630"/>
              <a:gd name="connsiteY5" fmla="*/ 1803748 h 3828276"/>
              <a:gd name="connsiteX6" fmla="*/ 6411346 w 10715630"/>
              <a:gd name="connsiteY6" fmla="*/ 1108553 h 3828276"/>
              <a:gd name="connsiteX7" fmla="*/ 6693181 w 10715630"/>
              <a:gd name="connsiteY7" fmla="*/ 770350 h 3828276"/>
              <a:gd name="connsiteX8" fmla="*/ 6843494 w 10715630"/>
              <a:gd name="connsiteY8" fmla="*/ 632564 h 3828276"/>
              <a:gd name="connsiteX9" fmla="*/ 7306957 w 10715630"/>
              <a:gd name="connsiteY9" fmla="*/ 319413 h 3828276"/>
              <a:gd name="connsiteX10" fmla="*/ 7826787 w 10715630"/>
              <a:gd name="connsiteY10" fmla="*/ 112734 h 3828276"/>
              <a:gd name="connsiteX11" fmla="*/ 8071044 w 10715630"/>
              <a:gd name="connsiteY11" fmla="*/ 43841 h 3828276"/>
              <a:gd name="connsiteX12" fmla="*/ 8534507 w 10715630"/>
              <a:gd name="connsiteY12" fmla="*/ 0 h 3828276"/>
              <a:gd name="connsiteX13" fmla="*/ 9142020 w 10715630"/>
              <a:gd name="connsiteY13" fmla="*/ 31315 h 3828276"/>
              <a:gd name="connsiteX14" fmla="*/ 9386277 w 10715630"/>
              <a:gd name="connsiteY14" fmla="*/ 93945 h 3828276"/>
              <a:gd name="connsiteX15" fmla="*/ 9592957 w 10715630"/>
              <a:gd name="connsiteY15" fmla="*/ 169101 h 3828276"/>
              <a:gd name="connsiteX16" fmla="*/ 9981263 w 10715630"/>
              <a:gd name="connsiteY16" fmla="*/ 375781 h 3828276"/>
              <a:gd name="connsiteX17" fmla="*/ 10425937 w 10715630"/>
              <a:gd name="connsiteY17" fmla="*/ 751561 h 3828276"/>
              <a:gd name="connsiteX18" fmla="*/ 10670195 w 10715630"/>
              <a:gd name="connsiteY18" fmla="*/ 1240076 h 3828276"/>
              <a:gd name="connsiteX19" fmla="*/ 10714036 w 10715630"/>
              <a:gd name="connsiteY19" fmla="*/ 1791222 h 3828276"/>
              <a:gd name="connsiteX20" fmla="*/ 10707773 w 10715630"/>
              <a:gd name="connsiteY20" fmla="*/ 2035479 h 3828276"/>
              <a:gd name="connsiteX21" fmla="*/ 10632617 w 10715630"/>
              <a:gd name="connsiteY21" fmla="*/ 2311052 h 3828276"/>
              <a:gd name="connsiteX22" fmla="*/ 10432200 w 10715630"/>
              <a:gd name="connsiteY22" fmla="*/ 2680570 h 3828276"/>
              <a:gd name="connsiteX23" fmla="*/ 10269362 w 10715630"/>
              <a:gd name="connsiteY23" fmla="*/ 2843408 h 3828276"/>
              <a:gd name="connsiteX24" fmla="*/ 10012578 w 10715630"/>
              <a:gd name="connsiteY24" fmla="*/ 2987457 h 3828276"/>
              <a:gd name="connsiteX25" fmla="*/ 9430118 w 10715630"/>
              <a:gd name="connsiteY25" fmla="*/ 3118981 h 3828276"/>
              <a:gd name="connsiteX26" fmla="*/ 8496929 w 10715630"/>
              <a:gd name="connsiteY26" fmla="*/ 3106455 h 3828276"/>
              <a:gd name="connsiteX27" fmla="*/ 7632633 w 10715630"/>
              <a:gd name="connsiteY27" fmla="*/ 3043824 h 3828276"/>
              <a:gd name="connsiteX28" fmla="*/ 7106540 w 10715630"/>
              <a:gd name="connsiteY28" fmla="*/ 2974931 h 3828276"/>
              <a:gd name="connsiteX29" fmla="*/ 5634732 w 10715630"/>
              <a:gd name="connsiteY29" fmla="*/ 2812093 h 3828276"/>
              <a:gd name="connsiteX30" fmla="*/ 5484420 w 10715630"/>
              <a:gd name="connsiteY30" fmla="*/ 2943616 h 3828276"/>
              <a:gd name="connsiteX31" fmla="*/ 5778781 w 10715630"/>
              <a:gd name="connsiteY31" fmla="*/ 2999983 h 3828276"/>
              <a:gd name="connsiteX32" fmla="*/ 5246425 w 10715630"/>
              <a:gd name="connsiteY32" fmla="*/ 2711885 h 3828276"/>
              <a:gd name="connsiteX0" fmla="*/ 0 w 10715630"/>
              <a:gd name="connsiteY0" fmla="*/ 3799348 h 3828276"/>
              <a:gd name="connsiteX1" fmla="*/ 3968770 w 10715630"/>
              <a:gd name="connsiteY1" fmla="*/ 3739019 h 3828276"/>
              <a:gd name="connsiteX2" fmla="*/ 5634732 w 10715630"/>
              <a:gd name="connsiteY2" fmla="*/ 2774515 h 3828276"/>
              <a:gd name="connsiteX3" fmla="*/ 5866463 w 10715630"/>
              <a:gd name="connsiteY3" fmla="*/ 2254685 h 3828276"/>
              <a:gd name="connsiteX4" fmla="*/ 5997987 w 10715630"/>
              <a:gd name="connsiteY4" fmla="*/ 1803748 h 3828276"/>
              <a:gd name="connsiteX5" fmla="*/ 6411346 w 10715630"/>
              <a:gd name="connsiteY5" fmla="*/ 1108553 h 3828276"/>
              <a:gd name="connsiteX6" fmla="*/ 6693181 w 10715630"/>
              <a:gd name="connsiteY6" fmla="*/ 770350 h 3828276"/>
              <a:gd name="connsiteX7" fmla="*/ 6843494 w 10715630"/>
              <a:gd name="connsiteY7" fmla="*/ 632564 h 3828276"/>
              <a:gd name="connsiteX8" fmla="*/ 7306957 w 10715630"/>
              <a:gd name="connsiteY8" fmla="*/ 319413 h 3828276"/>
              <a:gd name="connsiteX9" fmla="*/ 7826787 w 10715630"/>
              <a:gd name="connsiteY9" fmla="*/ 112734 h 3828276"/>
              <a:gd name="connsiteX10" fmla="*/ 8071044 w 10715630"/>
              <a:gd name="connsiteY10" fmla="*/ 43841 h 3828276"/>
              <a:gd name="connsiteX11" fmla="*/ 8534507 w 10715630"/>
              <a:gd name="connsiteY11" fmla="*/ 0 h 3828276"/>
              <a:gd name="connsiteX12" fmla="*/ 9142020 w 10715630"/>
              <a:gd name="connsiteY12" fmla="*/ 31315 h 3828276"/>
              <a:gd name="connsiteX13" fmla="*/ 9386277 w 10715630"/>
              <a:gd name="connsiteY13" fmla="*/ 93945 h 3828276"/>
              <a:gd name="connsiteX14" fmla="*/ 9592957 w 10715630"/>
              <a:gd name="connsiteY14" fmla="*/ 169101 h 3828276"/>
              <a:gd name="connsiteX15" fmla="*/ 9981263 w 10715630"/>
              <a:gd name="connsiteY15" fmla="*/ 375781 h 3828276"/>
              <a:gd name="connsiteX16" fmla="*/ 10425937 w 10715630"/>
              <a:gd name="connsiteY16" fmla="*/ 751561 h 3828276"/>
              <a:gd name="connsiteX17" fmla="*/ 10670195 w 10715630"/>
              <a:gd name="connsiteY17" fmla="*/ 1240076 h 3828276"/>
              <a:gd name="connsiteX18" fmla="*/ 10714036 w 10715630"/>
              <a:gd name="connsiteY18" fmla="*/ 1791222 h 3828276"/>
              <a:gd name="connsiteX19" fmla="*/ 10707773 w 10715630"/>
              <a:gd name="connsiteY19" fmla="*/ 2035479 h 3828276"/>
              <a:gd name="connsiteX20" fmla="*/ 10632617 w 10715630"/>
              <a:gd name="connsiteY20" fmla="*/ 2311052 h 3828276"/>
              <a:gd name="connsiteX21" fmla="*/ 10432200 w 10715630"/>
              <a:gd name="connsiteY21" fmla="*/ 2680570 h 3828276"/>
              <a:gd name="connsiteX22" fmla="*/ 10269362 w 10715630"/>
              <a:gd name="connsiteY22" fmla="*/ 2843408 h 3828276"/>
              <a:gd name="connsiteX23" fmla="*/ 10012578 w 10715630"/>
              <a:gd name="connsiteY23" fmla="*/ 2987457 h 3828276"/>
              <a:gd name="connsiteX24" fmla="*/ 9430118 w 10715630"/>
              <a:gd name="connsiteY24" fmla="*/ 3118981 h 3828276"/>
              <a:gd name="connsiteX25" fmla="*/ 8496929 w 10715630"/>
              <a:gd name="connsiteY25" fmla="*/ 3106455 h 3828276"/>
              <a:gd name="connsiteX26" fmla="*/ 7632633 w 10715630"/>
              <a:gd name="connsiteY26" fmla="*/ 3043824 h 3828276"/>
              <a:gd name="connsiteX27" fmla="*/ 7106540 w 10715630"/>
              <a:gd name="connsiteY27" fmla="*/ 2974931 h 3828276"/>
              <a:gd name="connsiteX28" fmla="*/ 5634732 w 10715630"/>
              <a:gd name="connsiteY28" fmla="*/ 2812093 h 3828276"/>
              <a:gd name="connsiteX29" fmla="*/ 5484420 w 10715630"/>
              <a:gd name="connsiteY29" fmla="*/ 2943616 h 3828276"/>
              <a:gd name="connsiteX30" fmla="*/ 5778781 w 10715630"/>
              <a:gd name="connsiteY30" fmla="*/ 2999983 h 3828276"/>
              <a:gd name="connsiteX31" fmla="*/ 5246425 w 10715630"/>
              <a:gd name="connsiteY31" fmla="*/ 2711885 h 3828276"/>
              <a:gd name="connsiteX0" fmla="*/ 0 w 10302990"/>
              <a:gd name="connsiteY0" fmla="*/ 3799348 h 3828276"/>
              <a:gd name="connsiteX1" fmla="*/ 3556130 w 10302990"/>
              <a:gd name="connsiteY1" fmla="*/ 3739019 h 3828276"/>
              <a:gd name="connsiteX2" fmla="*/ 5222092 w 10302990"/>
              <a:gd name="connsiteY2" fmla="*/ 2774515 h 3828276"/>
              <a:gd name="connsiteX3" fmla="*/ 5453823 w 10302990"/>
              <a:gd name="connsiteY3" fmla="*/ 2254685 h 3828276"/>
              <a:gd name="connsiteX4" fmla="*/ 5585347 w 10302990"/>
              <a:gd name="connsiteY4" fmla="*/ 1803748 h 3828276"/>
              <a:gd name="connsiteX5" fmla="*/ 5998706 w 10302990"/>
              <a:gd name="connsiteY5" fmla="*/ 1108553 h 3828276"/>
              <a:gd name="connsiteX6" fmla="*/ 6280541 w 10302990"/>
              <a:gd name="connsiteY6" fmla="*/ 770350 h 3828276"/>
              <a:gd name="connsiteX7" fmla="*/ 6430854 w 10302990"/>
              <a:gd name="connsiteY7" fmla="*/ 632564 h 3828276"/>
              <a:gd name="connsiteX8" fmla="*/ 6894317 w 10302990"/>
              <a:gd name="connsiteY8" fmla="*/ 319413 h 3828276"/>
              <a:gd name="connsiteX9" fmla="*/ 7414147 w 10302990"/>
              <a:gd name="connsiteY9" fmla="*/ 112734 h 3828276"/>
              <a:gd name="connsiteX10" fmla="*/ 7658404 w 10302990"/>
              <a:gd name="connsiteY10" fmla="*/ 43841 h 3828276"/>
              <a:gd name="connsiteX11" fmla="*/ 8121867 w 10302990"/>
              <a:gd name="connsiteY11" fmla="*/ 0 h 3828276"/>
              <a:gd name="connsiteX12" fmla="*/ 8729380 w 10302990"/>
              <a:gd name="connsiteY12" fmla="*/ 31315 h 3828276"/>
              <a:gd name="connsiteX13" fmla="*/ 8973637 w 10302990"/>
              <a:gd name="connsiteY13" fmla="*/ 93945 h 3828276"/>
              <a:gd name="connsiteX14" fmla="*/ 9180317 w 10302990"/>
              <a:gd name="connsiteY14" fmla="*/ 169101 h 3828276"/>
              <a:gd name="connsiteX15" fmla="*/ 9568623 w 10302990"/>
              <a:gd name="connsiteY15" fmla="*/ 375781 h 3828276"/>
              <a:gd name="connsiteX16" fmla="*/ 10013297 w 10302990"/>
              <a:gd name="connsiteY16" fmla="*/ 751561 h 3828276"/>
              <a:gd name="connsiteX17" fmla="*/ 10257555 w 10302990"/>
              <a:gd name="connsiteY17" fmla="*/ 1240076 h 3828276"/>
              <a:gd name="connsiteX18" fmla="*/ 10301396 w 10302990"/>
              <a:gd name="connsiteY18" fmla="*/ 1791222 h 3828276"/>
              <a:gd name="connsiteX19" fmla="*/ 10295133 w 10302990"/>
              <a:gd name="connsiteY19" fmla="*/ 2035479 h 3828276"/>
              <a:gd name="connsiteX20" fmla="*/ 10219977 w 10302990"/>
              <a:gd name="connsiteY20" fmla="*/ 2311052 h 3828276"/>
              <a:gd name="connsiteX21" fmla="*/ 10019560 w 10302990"/>
              <a:gd name="connsiteY21" fmla="*/ 2680570 h 3828276"/>
              <a:gd name="connsiteX22" fmla="*/ 9856722 w 10302990"/>
              <a:gd name="connsiteY22" fmla="*/ 2843408 h 3828276"/>
              <a:gd name="connsiteX23" fmla="*/ 9599938 w 10302990"/>
              <a:gd name="connsiteY23" fmla="*/ 2987457 h 3828276"/>
              <a:gd name="connsiteX24" fmla="*/ 9017478 w 10302990"/>
              <a:gd name="connsiteY24" fmla="*/ 3118981 h 3828276"/>
              <a:gd name="connsiteX25" fmla="*/ 8084289 w 10302990"/>
              <a:gd name="connsiteY25" fmla="*/ 3106455 h 3828276"/>
              <a:gd name="connsiteX26" fmla="*/ 7219993 w 10302990"/>
              <a:gd name="connsiteY26" fmla="*/ 3043824 h 3828276"/>
              <a:gd name="connsiteX27" fmla="*/ 6693900 w 10302990"/>
              <a:gd name="connsiteY27" fmla="*/ 2974931 h 3828276"/>
              <a:gd name="connsiteX28" fmla="*/ 5222092 w 10302990"/>
              <a:gd name="connsiteY28" fmla="*/ 2812093 h 3828276"/>
              <a:gd name="connsiteX29" fmla="*/ 5071780 w 10302990"/>
              <a:gd name="connsiteY29" fmla="*/ 2943616 h 3828276"/>
              <a:gd name="connsiteX30" fmla="*/ 5366141 w 10302990"/>
              <a:gd name="connsiteY30" fmla="*/ 2999983 h 3828276"/>
              <a:gd name="connsiteX31" fmla="*/ 4833785 w 10302990"/>
              <a:gd name="connsiteY31" fmla="*/ 2711885 h 3828276"/>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731095 w 9402684"/>
              <a:gd name="connsiteY23" fmla="*/ 2974295 h 4164902"/>
              <a:gd name="connsiteX24" fmla="*/ 8699632 w 9402684"/>
              <a:gd name="connsiteY24" fmla="*/ 2987457 h 4164902"/>
              <a:gd name="connsiteX25" fmla="*/ 8117172 w 9402684"/>
              <a:gd name="connsiteY25" fmla="*/ 3118981 h 4164902"/>
              <a:gd name="connsiteX26" fmla="*/ 7183983 w 9402684"/>
              <a:gd name="connsiteY26" fmla="*/ 3106455 h 4164902"/>
              <a:gd name="connsiteX27" fmla="*/ 6319687 w 9402684"/>
              <a:gd name="connsiteY27" fmla="*/ 3043824 h 4164902"/>
              <a:gd name="connsiteX28" fmla="*/ 5793594 w 9402684"/>
              <a:gd name="connsiteY28" fmla="*/ 2974931 h 4164902"/>
              <a:gd name="connsiteX29" fmla="*/ 4321786 w 9402684"/>
              <a:gd name="connsiteY29" fmla="*/ 2812093 h 4164902"/>
              <a:gd name="connsiteX30" fmla="*/ 4171474 w 9402684"/>
              <a:gd name="connsiteY30" fmla="*/ 2943616 h 4164902"/>
              <a:gd name="connsiteX31" fmla="*/ 4465835 w 9402684"/>
              <a:gd name="connsiteY31" fmla="*/ 2999983 h 4164902"/>
              <a:gd name="connsiteX32" fmla="*/ 3933479 w 9402684"/>
              <a:gd name="connsiteY32"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117172 w 9402684"/>
              <a:gd name="connsiteY23" fmla="*/ 3118981 h 4164902"/>
              <a:gd name="connsiteX24" fmla="*/ 7183983 w 9402684"/>
              <a:gd name="connsiteY24" fmla="*/ 3106455 h 4164902"/>
              <a:gd name="connsiteX25" fmla="*/ 6319687 w 9402684"/>
              <a:gd name="connsiteY25" fmla="*/ 3043824 h 4164902"/>
              <a:gd name="connsiteX26" fmla="*/ 5793594 w 9402684"/>
              <a:gd name="connsiteY26" fmla="*/ 2974931 h 4164902"/>
              <a:gd name="connsiteX27" fmla="*/ 4321786 w 9402684"/>
              <a:gd name="connsiteY27" fmla="*/ 2812093 h 4164902"/>
              <a:gd name="connsiteX28" fmla="*/ 4171474 w 9402684"/>
              <a:gd name="connsiteY28" fmla="*/ 2943616 h 4164902"/>
              <a:gd name="connsiteX29" fmla="*/ 4465835 w 9402684"/>
              <a:gd name="connsiteY29" fmla="*/ 2999983 h 4164902"/>
              <a:gd name="connsiteX30" fmla="*/ 3933479 w 9402684"/>
              <a:gd name="connsiteY30"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117172 w 9402684"/>
              <a:gd name="connsiteY22" fmla="*/ 3118981 h 4164902"/>
              <a:gd name="connsiteX23" fmla="*/ 7183983 w 9402684"/>
              <a:gd name="connsiteY23" fmla="*/ 3106455 h 4164902"/>
              <a:gd name="connsiteX24" fmla="*/ 6319687 w 9402684"/>
              <a:gd name="connsiteY24" fmla="*/ 3043824 h 4164902"/>
              <a:gd name="connsiteX25" fmla="*/ 5793594 w 9402684"/>
              <a:gd name="connsiteY25" fmla="*/ 2974931 h 4164902"/>
              <a:gd name="connsiteX26" fmla="*/ 4321786 w 9402684"/>
              <a:gd name="connsiteY26" fmla="*/ 2812093 h 4164902"/>
              <a:gd name="connsiteX27" fmla="*/ 4171474 w 9402684"/>
              <a:gd name="connsiteY27" fmla="*/ 2943616 h 4164902"/>
              <a:gd name="connsiteX28" fmla="*/ 4465835 w 9402684"/>
              <a:gd name="connsiteY28" fmla="*/ 2999983 h 4164902"/>
              <a:gd name="connsiteX29" fmla="*/ 3933479 w 9402684"/>
              <a:gd name="connsiteY29"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7183983 w 9402684"/>
              <a:gd name="connsiteY22" fmla="*/ 3106455 h 4164902"/>
              <a:gd name="connsiteX23" fmla="*/ 6319687 w 9402684"/>
              <a:gd name="connsiteY23" fmla="*/ 3043824 h 4164902"/>
              <a:gd name="connsiteX24" fmla="*/ 5793594 w 9402684"/>
              <a:gd name="connsiteY24" fmla="*/ 2974931 h 4164902"/>
              <a:gd name="connsiteX25" fmla="*/ 4321786 w 9402684"/>
              <a:gd name="connsiteY25" fmla="*/ 2812093 h 4164902"/>
              <a:gd name="connsiteX26" fmla="*/ 4171474 w 9402684"/>
              <a:gd name="connsiteY26" fmla="*/ 2943616 h 4164902"/>
              <a:gd name="connsiteX27" fmla="*/ 4465835 w 9402684"/>
              <a:gd name="connsiteY27" fmla="*/ 2999983 h 4164902"/>
              <a:gd name="connsiteX28" fmla="*/ 3933479 w 9402684"/>
              <a:gd name="connsiteY28" fmla="*/ 2711885 h 4164902"/>
              <a:gd name="connsiteX0" fmla="*/ 0 w 9501499"/>
              <a:gd name="connsiteY0" fmla="*/ 4164902 h 4164902"/>
              <a:gd name="connsiteX1" fmla="*/ 2655824 w 9501499"/>
              <a:gd name="connsiteY1" fmla="*/ 3739019 h 4164902"/>
              <a:gd name="connsiteX2" fmla="*/ 4321786 w 9501499"/>
              <a:gd name="connsiteY2" fmla="*/ 2774515 h 4164902"/>
              <a:gd name="connsiteX3" fmla="*/ 4553517 w 9501499"/>
              <a:gd name="connsiteY3" fmla="*/ 2254685 h 4164902"/>
              <a:gd name="connsiteX4" fmla="*/ 4685041 w 9501499"/>
              <a:gd name="connsiteY4" fmla="*/ 1803748 h 4164902"/>
              <a:gd name="connsiteX5" fmla="*/ 5098400 w 9501499"/>
              <a:gd name="connsiteY5" fmla="*/ 1108553 h 4164902"/>
              <a:gd name="connsiteX6" fmla="*/ 5380235 w 9501499"/>
              <a:gd name="connsiteY6" fmla="*/ 770350 h 4164902"/>
              <a:gd name="connsiteX7" fmla="*/ 5530548 w 9501499"/>
              <a:gd name="connsiteY7" fmla="*/ 632564 h 4164902"/>
              <a:gd name="connsiteX8" fmla="*/ 5994011 w 9501499"/>
              <a:gd name="connsiteY8" fmla="*/ 319413 h 4164902"/>
              <a:gd name="connsiteX9" fmla="*/ 6513841 w 9501499"/>
              <a:gd name="connsiteY9" fmla="*/ 112734 h 4164902"/>
              <a:gd name="connsiteX10" fmla="*/ 6758098 w 9501499"/>
              <a:gd name="connsiteY10" fmla="*/ 43841 h 4164902"/>
              <a:gd name="connsiteX11" fmla="*/ 7221561 w 9501499"/>
              <a:gd name="connsiteY11" fmla="*/ 0 h 4164902"/>
              <a:gd name="connsiteX12" fmla="*/ 7829074 w 9501499"/>
              <a:gd name="connsiteY12" fmla="*/ 31315 h 4164902"/>
              <a:gd name="connsiteX13" fmla="*/ 8073331 w 9501499"/>
              <a:gd name="connsiteY13" fmla="*/ 93945 h 4164902"/>
              <a:gd name="connsiteX14" fmla="*/ 8280011 w 9501499"/>
              <a:gd name="connsiteY14" fmla="*/ 169101 h 4164902"/>
              <a:gd name="connsiteX15" fmla="*/ 8668317 w 9501499"/>
              <a:gd name="connsiteY15" fmla="*/ 375781 h 4164902"/>
              <a:gd name="connsiteX16" fmla="*/ 9112991 w 9501499"/>
              <a:gd name="connsiteY16" fmla="*/ 751561 h 4164902"/>
              <a:gd name="connsiteX17" fmla="*/ 9357249 w 9501499"/>
              <a:gd name="connsiteY17" fmla="*/ 1240076 h 4164902"/>
              <a:gd name="connsiteX18" fmla="*/ 9401090 w 9501499"/>
              <a:gd name="connsiteY18" fmla="*/ 1791222 h 4164902"/>
              <a:gd name="connsiteX19" fmla="*/ 9394827 w 9501499"/>
              <a:gd name="connsiteY19" fmla="*/ 2035479 h 4164902"/>
              <a:gd name="connsiteX20" fmla="*/ 9319671 w 9501499"/>
              <a:gd name="connsiteY20" fmla="*/ 2311052 h 4164902"/>
              <a:gd name="connsiteX21" fmla="*/ 7183983 w 9501499"/>
              <a:gd name="connsiteY21" fmla="*/ 3106455 h 4164902"/>
              <a:gd name="connsiteX22" fmla="*/ 6319687 w 9501499"/>
              <a:gd name="connsiteY22" fmla="*/ 3043824 h 4164902"/>
              <a:gd name="connsiteX23" fmla="*/ 5793594 w 9501499"/>
              <a:gd name="connsiteY23" fmla="*/ 2974931 h 4164902"/>
              <a:gd name="connsiteX24" fmla="*/ 4321786 w 9501499"/>
              <a:gd name="connsiteY24" fmla="*/ 2812093 h 4164902"/>
              <a:gd name="connsiteX25" fmla="*/ 4171474 w 9501499"/>
              <a:gd name="connsiteY25" fmla="*/ 2943616 h 4164902"/>
              <a:gd name="connsiteX26" fmla="*/ 4465835 w 9501499"/>
              <a:gd name="connsiteY26" fmla="*/ 2999983 h 4164902"/>
              <a:gd name="connsiteX27" fmla="*/ 3933479 w 9501499"/>
              <a:gd name="connsiteY27" fmla="*/ 2711885 h 4164902"/>
              <a:gd name="connsiteX0" fmla="*/ 0 w 9560696"/>
              <a:gd name="connsiteY0" fmla="*/ 4164902 h 4164902"/>
              <a:gd name="connsiteX1" fmla="*/ 2655824 w 9560696"/>
              <a:gd name="connsiteY1" fmla="*/ 3739019 h 4164902"/>
              <a:gd name="connsiteX2" fmla="*/ 4321786 w 9560696"/>
              <a:gd name="connsiteY2" fmla="*/ 2774515 h 4164902"/>
              <a:gd name="connsiteX3" fmla="*/ 4553517 w 9560696"/>
              <a:gd name="connsiteY3" fmla="*/ 2254685 h 4164902"/>
              <a:gd name="connsiteX4" fmla="*/ 4685041 w 9560696"/>
              <a:gd name="connsiteY4" fmla="*/ 1803748 h 4164902"/>
              <a:gd name="connsiteX5" fmla="*/ 5098400 w 9560696"/>
              <a:gd name="connsiteY5" fmla="*/ 1108553 h 4164902"/>
              <a:gd name="connsiteX6" fmla="*/ 5380235 w 9560696"/>
              <a:gd name="connsiteY6" fmla="*/ 770350 h 4164902"/>
              <a:gd name="connsiteX7" fmla="*/ 5530548 w 9560696"/>
              <a:gd name="connsiteY7" fmla="*/ 632564 h 4164902"/>
              <a:gd name="connsiteX8" fmla="*/ 5994011 w 9560696"/>
              <a:gd name="connsiteY8" fmla="*/ 319413 h 4164902"/>
              <a:gd name="connsiteX9" fmla="*/ 6513841 w 9560696"/>
              <a:gd name="connsiteY9" fmla="*/ 112734 h 4164902"/>
              <a:gd name="connsiteX10" fmla="*/ 6758098 w 9560696"/>
              <a:gd name="connsiteY10" fmla="*/ 43841 h 4164902"/>
              <a:gd name="connsiteX11" fmla="*/ 7221561 w 9560696"/>
              <a:gd name="connsiteY11" fmla="*/ 0 h 4164902"/>
              <a:gd name="connsiteX12" fmla="*/ 7829074 w 9560696"/>
              <a:gd name="connsiteY12" fmla="*/ 31315 h 4164902"/>
              <a:gd name="connsiteX13" fmla="*/ 8073331 w 9560696"/>
              <a:gd name="connsiteY13" fmla="*/ 93945 h 4164902"/>
              <a:gd name="connsiteX14" fmla="*/ 8280011 w 9560696"/>
              <a:gd name="connsiteY14" fmla="*/ 169101 h 4164902"/>
              <a:gd name="connsiteX15" fmla="*/ 8668317 w 9560696"/>
              <a:gd name="connsiteY15" fmla="*/ 375781 h 4164902"/>
              <a:gd name="connsiteX16" fmla="*/ 9112991 w 9560696"/>
              <a:gd name="connsiteY16" fmla="*/ 751561 h 4164902"/>
              <a:gd name="connsiteX17" fmla="*/ 9357249 w 9560696"/>
              <a:gd name="connsiteY17" fmla="*/ 1240076 h 4164902"/>
              <a:gd name="connsiteX18" fmla="*/ 9401090 w 9560696"/>
              <a:gd name="connsiteY18" fmla="*/ 1791222 h 4164902"/>
              <a:gd name="connsiteX19" fmla="*/ 9394827 w 9560696"/>
              <a:gd name="connsiteY19" fmla="*/ 2035479 h 4164902"/>
              <a:gd name="connsiteX20" fmla="*/ 7183983 w 9560696"/>
              <a:gd name="connsiteY20" fmla="*/ 3106455 h 4164902"/>
              <a:gd name="connsiteX21" fmla="*/ 6319687 w 9560696"/>
              <a:gd name="connsiteY21" fmla="*/ 3043824 h 4164902"/>
              <a:gd name="connsiteX22" fmla="*/ 5793594 w 9560696"/>
              <a:gd name="connsiteY22" fmla="*/ 2974931 h 4164902"/>
              <a:gd name="connsiteX23" fmla="*/ 4321786 w 9560696"/>
              <a:gd name="connsiteY23" fmla="*/ 2812093 h 4164902"/>
              <a:gd name="connsiteX24" fmla="*/ 4171474 w 9560696"/>
              <a:gd name="connsiteY24" fmla="*/ 2943616 h 4164902"/>
              <a:gd name="connsiteX25" fmla="*/ 4465835 w 9560696"/>
              <a:gd name="connsiteY25" fmla="*/ 2999983 h 4164902"/>
              <a:gd name="connsiteX26" fmla="*/ 3933479 w 9560696"/>
              <a:gd name="connsiteY26" fmla="*/ 2711885 h 4164902"/>
              <a:gd name="connsiteX0" fmla="*/ 0 w 9434827"/>
              <a:gd name="connsiteY0" fmla="*/ 4164902 h 4164902"/>
              <a:gd name="connsiteX1" fmla="*/ 2655824 w 9434827"/>
              <a:gd name="connsiteY1" fmla="*/ 3739019 h 4164902"/>
              <a:gd name="connsiteX2" fmla="*/ 4321786 w 9434827"/>
              <a:gd name="connsiteY2" fmla="*/ 2774515 h 4164902"/>
              <a:gd name="connsiteX3" fmla="*/ 4553517 w 9434827"/>
              <a:gd name="connsiteY3" fmla="*/ 2254685 h 4164902"/>
              <a:gd name="connsiteX4" fmla="*/ 4685041 w 9434827"/>
              <a:gd name="connsiteY4" fmla="*/ 1803748 h 4164902"/>
              <a:gd name="connsiteX5" fmla="*/ 5098400 w 9434827"/>
              <a:gd name="connsiteY5" fmla="*/ 1108553 h 4164902"/>
              <a:gd name="connsiteX6" fmla="*/ 5380235 w 9434827"/>
              <a:gd name="connsiteY6" fmla="*/ 770350 h 4164902"/>
              <a:gd name="connsiteX7" fmla="*/ 5530548 w 9434827"/>
              <a:gd name="connsiteY7" fmla="*/ 632564 h 4164902"/>
              <a:gd name="connsiteX8" fmla="*/ 5994011 w 9434827"/>
              <a:gd name="connsiteY8" fmla="*/ 319413 h 4164902"/>
              <a:gd name="connsiteX9" fmla="*/ 6513841 w 9434827"/>
              <a:gd name="connsiteY9" fmla="*/ 112734 h 4164902"/>
              <a:gd name="connsiteX10" fmla="*/ 6758098 w 9434827"/>
              <a:gd name="connsiteY10" fmla="*/ 43841 h 4164902"/>
              <a:gd name="connsiteX11" fmla="*/ 7221561 w 9434827"/>
              <a:gd name="connsiteY11" fmla="*/ 0 h 4164902"/>
              <a:gd name="connsiteX12" fmla="*/ 7829074 w 9434827"/>
              <a:gd name="connsiteY12" fmla="*/ 31315 h 4164902"/>
              <a:gd name="connsiteX13" fmla="*/ 8073331 w 9434827"/>
              <a:gd name="connsiteY13" fmla="*/ 93945 h 4164902"/>
              <a:gd name="connsiteX14" fmla="*/ 8280011 w 9434827"/>
              <a:gd name="connsiteY14" fmla="*/ 169101 h 4164902"/>
              <a:gd name="connsiteX15" fmla="*/ 8668317 w 9434827"/>
              <a:gd name="connsiteY15" fmla="*/ 375781 h 4164902"/>
              <a:gd name="connsiteX16" fmla="*/ 9112991 w 9434827"/>
              <a:gd name="connsiteY16" fmla="*/ 751561 h 4164902"/>
              <a:gd name="connsiteX17" fmla="*/ 9357249 w 9434827"/>
              <a:gd name="connsiteY17" fmla="*/ 1240076 h 4164902"/>
              <a:gd name="connsiteX18" fmla="*/ 9401090 w 9434827"/>
              <a:gd name="connsiteY18" fmla="*/ 1791222 h 4164902"/>
              <a:gd name="connsiteX19" fmla="*/ 8879025 w 9434827"/>
              <a:gd name="connsiteY19" fmla="*/ 2907829 h 4164902"/>
              <a:gd name="connsiteX20" fmla="*/ 7183983 w 9434827"/>
              <a:gd name="connsiteY20" fmla="*/ 3106455 h 4164902"/>
              <a:gd name="connsiteX21" fmla="*/ 6319687 w 9434827"/>
              <a:gd name="connsiteY21" fmla="*/ 3043824 h 4164902"/>
              <a:gd name="connsiteX22" fmla="*/ 5793594 w 9434827"/>
              <a:gd name="connsiteY22" fmla="*/ 2974931 h 4164902"/>
              <a:gd name="connsiteX23" fmla="*/ 4321786 w 9434827"/>
              <a:gd name="connsiteY23" fmla="*/ 2812093 h 4164902"/>
              <a:gd name="connsiteX24" fmla="*/ 4171474 w 9434827"/>
              <a:gd name="connsiteY24" fmla="*/ 2943616 h 4164902"/>
              <a:gd name="connsiteX25" fmla="*/ 4465835 w 9434827"/>
              <a:gd name="connsiteY25" fmla="*/ 2999983 h 4164902"/>
              <a:gd name="connsiteX26" fmla="*/ 3933479 w 9434827"/>
              <a:gd name="connsiteY26" fmla="*/ 2711885 h 4164902"/>
              <a:gd name="connsiteX0" fmla="*/ 0 w 9405946"/>
              <a:gd name="connsiteY0" fmla="*/ 4164902 h 4164902"/>
              <a:gd name="connsiteX1" fmla="*/ 2655824 w 9405946"/>
              <a:gd name="connsiteY1" fmla="*/ 3739019 h 4164902"/>
              <a:gd name="connsiteX2" fmla="*/ 4321786 w 9405946"/>
              <a:gd name="connsiteY2" fmla="*/ 2774515 h 4164902"/>
              <a:gd name="connsiteX3" fmla="*/ 4553517 w 9405946"/>
              <a:gd name="connsiteY3" fmla="*/ 2254685 h 4164902"/>
              <a:gd name="connsiteX4" fmla="*/ 4685041 w 9405946"/>
              <a:gd name="connsiteY4" fmla="*/ 1803748 h 4164902"/>
              <a:gd name="connsiteX5" fmla="*/ 5098400 w 9405946"/>
              <a:gd name="connsiteY5" fmla="*/ 1108553 h 4164902"/>
              <a:gd name="connsiteX6" fmla="*/ 5380235 w 9405946"/>
              <a:gd name="connsiteY6" fmla="*/ 770350 h 4164902"/>
              <a:gd name="connsiteX7" fmla="*/ 5530548 w 9405946"/>
              <a:gd name="connsiteY7" fmla="*/ 632564 h 4164902"/>
              <a:gd name="connsiteX8" fmla="*/ 5994011 w 9405946"/>
              <a:gd name="connsiteY8" fmla="*/ 319413 h 4164902"/>
              <a:gd name="connsiteX9" fmla="*/ 6513841 w 9405946"/>
              <a:gd name="connsiteY9" fmla="*/ 112734 h 4164902"/>
              <a:gd name="connsiteX10" fmla="*/ 6758098 w 9405946"/>
              <a:gd name="connsiteY10" fmla="*/ 43841 h 4164902"/>
              <a:gd name="connsiteX11" fmla="*/ 7221561 w 9405946"/>
              <a:gd name="connsiteY11" fmla="*/ 0 h 4164902"/>
              <a:gd name="connsiteX12" fmla="*/ 7829074 w 9405946"/>
              <a:gd name="connsiteY12" fmla="*/ 31315 h 4164902"/>
              <a:gd name="connsiteX13" fmla="*/ 8073331 w 9405946"/>
              <a:gd name="connsiteY13" fmla="*/ 93945 h 4164902"/>
              <a:gd name="connsiteX14" fmla="*/ 8280011 w 9405946"/>
              <a:gd name="connsiteY14" fmla="*/ 169101 h 4164902"/>
              <a:gd name="connsiteX15" fmla="*/ 8668317 w 9405946"/>
              <a:gd name="connsiteY15" fmla="*/ 375781 h 4164902"/>
              <a:gd name="connsiteX16" fmla="*/ 9112991 w 9405946"/>
              <a:gd name="connsiteY16" fmla="*/ 751561 h 4164902"/>
              <a:gd name="connsiteX17" fmla="*/ 9401090 w 9405946"/>
              <a:gd name="connsiteY17" fmla="*/ 1791222 h 4164902"/>
              <a:gd name="connsiteX18" fmla="*/ 8879025 w 9405946"/>
              <a:gd name="connsiteY18" fmla="*/ 2907829 h 4164902"/>
              <a:gd name="connsiteX19" fmla="*/ 7183983 w 9405946"/>
              <a:gd name="connsiteY19" fmla="*/ 3106455 h 4164902"/>
              <a:gd name="connsiteX20" fmla="*/ 6319687 w 9405946"/>
              <a:gd name="connsiteY20" fmla="*/ 3043824 h 4164902"/>
              <a:gd name="connsiteX21" fmla="*/ 5793594 w 9405946"/>
              <a:gd name="connsiteY21" fmla="*/ 2974931 h 4164902"/>
              <a:gd name="connsiteX22" fmla="*/ 4321786 w 9405946"/>
              <a:gd name="connsiteY22" fmla="*/ 2812093 h 4164902"/>
              <a:gd name="connsiteX23" fmla="*/ 4171474 w 9405946"/>
              <a:gd name="connsiteY23" fmla="*/ 2943616 h 4164902"/>
              <a:gd name="connsiteX24" fmla="*/ 4465835 w 9405946"/>
              <a:gd name="connsiteY24" fmla="*/ 2999983 h 4164902"/>
              <a:gd name="connsiteX25" fmla="*/ 3933479 w 9405946"/>
              <a:gd name="connsiteY25" fmla="*/ 2711885 h 4164902"/>
              <a:gd name="connsiteX0" fmla="*/ 0 w 9407634"/>
              <a:gd name="connsiteY0" fmla="*/ 4164902 h 4164902"/>
              <a:gd name="connsiteX1" fmla="*/ 2655824 w 9407634"/>
              <a:gd name="connsiteY1" fmla="*/ 3739019 h 4164902"/>
              <a:gd name="connsiteX2" fmla="*/ 4321786 w 9407634"/>
              <a:gd name="connsiteY2" fmla="*/ 2774515 h 4164902"/>
              <a:gd name="connsiteX3" fmla="*/ 4553517 w 9407634"/>
              <a:gd name="connsiteY3" fmla="*/ 2254685 h 4164902"/>
              <a:gd name="connsiteX4" fmla="*/ 4685041 w 9407634"/>
              <a:gd name="connsiteY4" fmla="*/ 1803748 h 4164902"/>
              <a:gd name="connsiteX5" fmla="*/ 5098400 w 9407634"/>
              <a:gd name="connsiteY5" fmla="*/ 1108553 h 4164902"/>
              <a:gd name="connsiteX6" fmla="*/ 5380235 w 9407634"/>
              <a:gd name="connsiteY6" fmla="*/ 770350 h 4164902"/>
              <a:gd name="connsiteX7" fmla="*/ 5530548 w 9407634"/>
              <a:gd name="connsiteY7" fmla="*/ 632564 h 4164902"/>
              <a:gd name="connsiteX8" fmla="*/ 5994011 w 9407634"/>
              <a:gd name="connsiteY8" fmla="*/ 319413 h 4164902"/>
              <a:gd name="connsiteX9" fmla="*/ 6513841 w 9407634"/>
              <a:gd name="connsiteY9" fmla="*/ 112734 h 4164902"/>
              <a:gd name="connsiteX10" fmla="*/ 6758098 w 9407634"/>
              <a:gd name="connsiteY10" fmla="*/ 43841 h 4164902"/>
              <a:gd name="connsiteX11" fmla="*/ 7221561 w 9407634"/>
              <a:gd name="connsiteY11" fmla="*/ 0 h 4164902"/>
              <a:gd name="connsiteX12" fmla="*/ 7829074 w 9407634"/>
              <a:gd name="connsiteY12" fmla="*/ 31315 h 4164902"/>
              <a:gd name="connsiteX13" fmla="*/ 8073331 w 9407634"/>
              <a:gd name="connsiteY13" fmla="*/ 93945 h 4164902"/>
              <a:gd name="connsiteX14" fmla="*/ 8280011 w 9407634"/>
              <a:gd name="connsiteY14" fmla="*/ 169101 h 4164902"/>
              <a:gd name="connsiteX15" fmla="*/ 9112991 w 9407634"/>
              <a:gd name="connsiteY15" fmla="*/ 751561 h 4164902"/>
              <a:gd name="connsiteX16" fmla="*/ 9401090 w 9407634"/>
              <a:gd name="connsiteY16" fmla="*/ 1791222 h 4164902"/>
              <a:gd name="connsiteX17" fmla="*/ 8879025 w 9407634"/>
              <a:gd name="connsiteY17" fmla="*/ 2907829 h 4164902"/>
              <a:gd name="connsiteX18" fmla="*/ 7183983 w 9407634"/>
              <a:gd name="connsiteY18" fmla="*/ 3106455 h 4164902"/>
              <a:gd name="connsiteX19" fmla="*/ 6319687 w 9407634"/>
              <a:gd name="connsiteY19" fmla="*/ 3043824 h 4164902"/>
              <a:gd name="connsiteX20" fmla="*/ 5793594 w 9407634"/>
              <a:gd name="connsiteY20" fmla="*/ 2974931 h 4164902"/>
              <a:gd name="connsiteX21" fmla="*/ 4321786 w 9407634"/>
              <a:gd name="connsiteY21" fmla="*/ 2812093 h 4164902"/>
              <a:gd name="connsiteX22" fmla="*/ 4171474 w 9407634"/>
              <a:gd name="connsiteY22" fmla="*/ 2943616 h 4164902"/>
              <a:gd name="connsiteX23" fmla="*/ 4465835 w 9407634"/>
              <a:gd name="connsiteY23" fmla="*/ 2999983 h 4164902"/>
              <a:gd name="connsiteX24" fmla="*/ 3933479 w 9407634"/>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18350 w 9409039"/>
              <a:gd name="connsiteY13" fmla="*/ 74773 h 4164902"/>
              <a:gd name="connsiteX14" fmla="*/ 8073331 w 9409039"/>
              <a:gd name="connsiteY14" fmla="*/ 93945 h 4164902"/>
              <a:gd name="connsiteX15" fmla="*/ 9112991 w 9409039"/>
              <a:gd name="connsiteY15" fmla="*/ 751561 h 4164902"/>
              <a:gd name="connsiteX16" fmla="*/ 9401090 w 9409039"/>
              <a:gd name="connsiteY16" fmla="*/ 1791222 h 4164902"/>
              <a:gd name="connsiteX17" fmla="*/ 8879025 w 9409039"/>
              <a:gd name="connsiteY17" fmla="*/ 2907829 h 4164902"/>
              <a:gd name="connsiteX18" fmla="*/ 7183983 w 9409039"/>
              <a:gd name="connsiteY18" fmla="*/ 3106455 h 4164902"/>
              <a:gd name="connsiteX19" fmla="*/ 6319687 w 9409039"/>
              <a:gd name="connsiteY19" fmla="*/ 3043824 h 4164902"/>
              <a:gd name="connsiteX20" fmla="*/ 5793594 w 9409039"/>
              <a:gd name="connsiteY20" fmla="*/ 2974931 h 4164902"/>
              <a:gd name="connsiteX21" fmla="*/ 4321786 w 9409039"/>
              <a:gd name="connsiteY21" fmla="*/ 2812093 h 4164902"/>
              <a:gd name="connsiteX22" fmla="*/ 4171474 w 9409039"/>
              <a:gd name="connsiteY22" fmla="*/ 2943616 h 4164902"/>
              <a:gd name="connsiteX23" fmla="*/ 4465835 w 9409039"/>
              <a:gd name="connsiteY23" fmla="*/ 2999983 h 4164902"/>
              <a:gd name="connsiteX24" fmla="*/ 3933479 w 9409039"/>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8018350 w 9409039"/>
              <a:gd name="connsiteY12" fmla="*/ 74773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502"/>
              <a:gd name="connsiteY0" fmla="*/ 4172857 h 4172857"/>
              <a:gd name="connsiteX1" fmla="*/ 2655824 w 9409502"/>
              <a:gd name="connsiteY1" fmla="*/ 3746974 h 4172857"/>
              <a:gd name="connsiteX2" fmla="*/ 4321786 w 9409502"/>
              <a:gd name="connsiteY2" fmla="*/ 2782470 h 4172857"/>
              <a:gd name="connsiteX3" fmla="*/ 4553517 w 9409502"/>
              <a:gd name="connsiteY3" fmla="*/ 2262640 h 4172857"/>
              <a:gd name="connsiteX4" fmla="*/ 4685041 w 9409502"/>
              <a:gd name="connsiteY4" fmla="*/ 1811703 h 4172857"/>
              <a:gd name="connsiteX5" fmla="*/ 5098400 w 9409502"/>
              <a:gd name="connsiteY5" fmla="*/ 1116508 h 4172857"/>
              <a:gd name="connsiteX6" fmla="*/ 5380235 w 9409502"/>
              <a:gd name="connsiteY6" fmla="*/ 778305 h 4172857"/>
              <a:gd name="connsiteX7" fmla="*/ 5530548 w 9409502"/>
              <a:gd name="connsiteY7" fmla="*/ 640519 h 4172857"/>
              <a:gd name="connsiteX8" fmla="*/ 5994011 w 9409502"/>
              <a:gd name="connsiteY8" fmla="*/ 327368 h 4172857"/>
              <a:gd name="connsiteX9" fmla="*/ 6513841 w 9409502"/>
              <a:gd name="connsiteY9" fmla="*/ 120689 h 4172857"/>
              <a:gd name="connsiteX10" fmla="*/ 6758098 w 9409502"/>
              <a:gd name="connsiteY10" fmla="*/ 51796 h 4172857"/>
              <a:gd name="connsiteX11" fmla="*/ 7221561 w 9409502"/>
              <a:gd name="connsiteY11" fmla="*/ 7955 h 4172857"/>
              <a:gd name="connsiteX12" fmla="*/ 8018350 w 9409502"/>
              <a:gd name="connsiteY12" fmla="*/ 82728 h 4172857"/>
              <a:gd name="connsiteX13" fmla="*/ 9112991 w 9409502"/>
              <a:gd name="connsiteY13" fmla="*/ 759516 h 4172857"/>
              <a:gd name="connsiteX14" fmla="*/ 9401090 w 9409502"/>
              <a:gd name="connsiteY14" fmla="*/ 1799177 h 4172857"/>
              <a:gd name="connsiteX15" fmla="*/ 8879025 w 9409502"/>
              <a:gd name="connsiteY15" fmla="*/ 2915784 h 4172857"/>
              <a:gd name="connsiteX16" fmla="*/ 7183983 w 9409502"/>
              <a:gd name="connsiteY16" fmla="*/ 3114410 h 4172857"/>
              <a:gd name="connsiteX17" fmla="*/ 6319687 w 9409502"/>
              <a:gd name="connsiteY17" fmla="*/ 3051779 h 4172857"/>
              <a:gd name="connsiteX18" fmla="*/ 5793594 w 9409502"/>
              <a:gd name="connsiteY18" fmla="*/ 2982886 h 4172857"/>
              <a:gd name="connsiteX19" fmla="*/ 4321786 w 9409502"/>
              <a:gd name="connsiteY19" fmla="*/ 2820048 h 4172857"/>
              <a:gd name="connsiteX20" fmla="*/ 4171474 w 9409502"/>
              <a:gd name="connsiteY20" fmla="*/ 2951571 h 4172857"/>
              <a:gd name="connsiteX21" fmla="*/ 4465835 w 9409502"/>
              <a:gd name="connsiteY21" fmla="*/ 3007938 h 4172857"/>
              <a:gd name="connsiteX22" fmla="*/ 3933479 w 9409502"/>
              <a:gd name="connsiteY22" fmla="*/ 2719840 h 4172857"/>
              <a:gd name="connsiteX0" fmla="*/ 0 w 9409105"/>
              <a:gd name="connsiteY0" fmla="*/ 4172858 h 4172858"/>
              <a:gd name="connsiteX1" fmla="*/ 2655824 w 9409105"/>
              <a:gd name="connsiteY1" fmla="*/ 3746975 h 4172858"/>
              <a:gd name="connsiteX2" fmla="*/ 4321786 w 9409105"/>
              <a:gd name="connsiteY2" fmla="*/ 2782471 h 4172858"/>
              <a:gd name="connsiteX3" fmla="*/ 4553517 w 9409105"/>
              <a:gd name="connsiteY3" fmla="*/ 2262641 h 4172858"/>
              <a:gd name="connsiteX4" fmla="*/ 4685041 w 9409105"/>
              <a:gd name="connsiteY4" fmla="*/ 1811704 h 4172858"/>
              <a:gd name="connsiteX5" fmla="*/ 5098400 w 9409105"/>
              <a:gd name="connsiteY5" fmla="*/ 1116509 h 4172858"/>
              <a:gd name="connsiteX6" fmla="*/ 5380235 w 9409105"/>
              <a:gd name="connsiteY6" fmla="*/ 778306 h 4172858"/>
              <a:gd name="connsiteX7" fmla="*/ 5530548 w 9409105"/>
              <a:gd name="connsiteY7" fmla="*/ 640520 h 4172858"/>
              <a:gd name="connsiteX8" fmla="*/ 5994011 w 9409105"/>
              <a:gd name="connsiteY8" fmla="*/ 327369 h 4172858"/>
              <a:gd name="connsiteX9" fmla="*/ 6513841 w 9409105"/>
              <a:gd name="connsiteY9" fmla="*/ 120690 h 4172858"/>
              <a:gd name="connsiteX10" fmla="*/ 6758098 w 9409105"/>
              <a:gd name="connsiteY10" fmla="*/ 51797 h 4172858"/>
              <a:gd name="connsiteX11" fmla="*/ 7221561 w 9409105"/>
              <a:gd name="connsiteY11" fmla="*/ 7956 h 4172858"/>
              <a:gd name="connsiteX12" fmla="*/ 8018350 w 9409105"/>
              <a:gd name="connsiteY12" fmla="*/ 82729 h 4172858"/>
              <a:gd name="connsiteX13" fmla="*/ 8065240 w 9409105"/>
              <a:gd name="connsiteY13" fmla="*/ 99347 h 4172858"/>
              <a:gd name="connsiteX14" fmla="*/ 9112991 w 9409105"/>
              <a:gd name="connsiteY14" fmla="*/ 759517 h 4172858"/>
              <a:gd name="connsiteX15" fmla="*/ 9401090 w 9409105"/>
              <a:gd name="connsiteY15" fmla="*/ 1799178 h 4172858"/>
              <a:gd name="connsiteX16" fmla="*/ 8879025 w 9409105"/>
              <a:gd name="connsiteY16" fmla="*/ 2915785 h 4172858"/>
              <a:gd name="connsiteX17" fmla="*/ 7183983 w 9409105"/>
              <a:gd name="connsiteY17" fmla="*/ 3114411 h 4172858"/>
              <a:gd name="connsiteX18" fmla="*/ 6319687 w 9409105"/>
              <a:gd name="connsiteY18" fmla="*/ 3051780 h 4172858"/>
              <a:gd name="connsiteX19" fmla="*/ 5793594 w 9409105"/>
              <a:gd name="connsiteY19" fmla="*/ 2982887 h 4172858"/>
              <a:gd name="connsiteX20" fmla="*/ 4321786 w 9409105"/>
              <a:gd name="connsiteY20" fmla="*/ 2820049 h 4172858"/>
              <a:gd name="connsiteX21" fmla="*/ 4171474 w 9409105"/>
              <a:gd name="connsiteY21" fmla="*/ 2951572 h 4172858"/>
              <a:gd name="connsiteX22" fmla="*/ 4465835 w 9409105"/>
              <a:gd name="connsiteY22" fmla="*/ 3007939 h 4172858"/>
              <a:gd name="connsiteX23" fmla="*/ 3933479 w 9409105"/>
              <a:gd name="connsiteY23" fmla="*/ 2719841 h 4172858"/>
              <a:gd name="connsiteX0" fmla="*/ 0 w 9409502"/>
              <a:gd name="connsiteY0" fmla="*/ 4172858 h 4172858"/>
              <a:gd name="connsiteX1" fmla="*/ 2655824 w 9409502"/>
              <a:gd name="connsiteY1" fmla="*/ 3746975 h 4172858"/>
              <a:gd name="connsiteX2" fmla="*/ 4321786 w 9409502"/>
              <a:gd name="connsiteY2" fmla="*/ 2782471 h 4172858"/>
              <a:gd name="connsiteX3" fmla="*/ 4553517 w 9409502"/>
              <a:gd name="connsiteY3" fmla="*/ 2262641 h 4172858"/>
              <a:gd name="connsiteX4" fmla="*/ 4685041 w 9409502"/>
              <a:gd name="connsiteY4" fmla="*/ 1811704 h 4172858"/>
              <a:gd name="connsiteX5" fmla="*/ 5098400 w 9409502"/>
              <a:gd name="connsiteY5" fmla="*/ 1116509 h 4172858"/>
              <a:gd name="connsiteX6" fmla="*/ 5380235 w 9409502"/>
              <a:gd name="connsiteY6" fmla="*/ 778306 h 4172858"/>
              <a:gd name="connsiteX7" fmla="*/ 5530548 w 9409502"/>
              <a:gd name="connsiteY7" fmla="*/ 640520 h 4172858"/>
              <a:gd name="connsiteX8" fmla="*/ 5994011 w 9409502"/>
              <a:gd name="connsiteY8" fmla="*/ 327369 h 4172858"/>
              <a:gd name="connsiteX9" fmla="*/ 6513841 w 9409502"/>
              <a:gd name="connsiteY9" fmla="*/ 120690 h 4172858"/>
              <a:gd name="connsiteX10" fmla="*/ 6758098 w 9409502"/>
              <a:gd name="connsiteY10" fmla="*/ 51797 h 4172858"/>
              <a:gd name="connsiteX11" fmla="*/ 7221561 w 9409502"/>
              <a:gd name="connsiteY11" fmla="*/ 7956 h 4172858"/>
              <a:gd name="connsiteX12" fmla="*/ 8018350 w 9409502"/>
              <a:gd name="connsiteY12" fmla="*/ 82729 h 4172858"/>
              <a:gd name="connsiteX13" fmla="*/ 9112991 w 9409502"/>
              <a:gd name="connsiteY13" fmla="*/ 759517 h 4172858"/>
              <a:gd name="connsiteX14" fmla="*/ 9401090 w 9409502"/>
              <a:gd name="connsiteY14" fmla="*/ 1799178 h 4172858"/>
              <a:gd name="connsiteX15" fmla="*/ 8879025 w 9409502"/>
              <a:gd name="connsiteY15" fmla="*/ 2915785 h 4172858"/>
              <a:gd name="connsiteX16" fmla="*/ 7183983 w 9409502"/>
              <a:gd name="connsiteY16" fmla="*/ 3114411 h 4172858"/>
              <a:gd name="connsiteX17" fmla="*/ 6319687 w 9409502"/>
              <a:gd name="connsiteY17" fmla="*/ 3051780 h 4172858"/>
              <a:gd name="connsiteX18" fmla="*/ 5793594 w 9409502"/>
              <a:gd name="connsiteY18" fmla="*/ 2982887 h 4172858"/>
              <a:gd name="connsiteX19" fmla="*/ 4321786 w 9409502"/>
              <a:gd name="connsiteY19" fmla="*/ 2820049 h 4172858"/>
              <a:gd name="connsiteX20" fmla="*/ 4171474 w 9409502"/>
              <a:gd name="connsiteY20" fmla="*/ 2951572 h 4172858"/>
              <a:gd name="connsiteX21" fmla="*/ 4465835 w 9409502"/>
              <a:gd name="connsiteY21" fmla="*/ 3007939 h 4172858"/>
              <a:gd name="connsiteX22" fmla="*/ 3933479 w 9409502"/>
              <a:gd name="connsiteY22" fmla="*/ 2719841 h 4172858"/>
              <a:gd name="connsiteX0" fmla="*/ 0 w 9424727"/>
              <a:gd name="connsiteY0" fmla="*/ 4164903 h 4164903"/>
              <a:gd name="connsiteX1" fmla="*/ 2655824 w 9424727"/>
              <a:gd name="connsiteY1" fmla="*/ 3739020 h 4164903"/>
              <a:gd name="connsiteX2" fmla="*/ 4321786 w 9424727"/>
              <a:gd name="connsiteY2" fmla="*/ 2774516 h 4164903"/>
              <a:gd name="connsiteX3" fmla="*/ 4553517 w 9424727"/>
              <a:gd name="connsiteY3" fmla="*/ 2254686 h 4164903"/>
              <a:gd name="connsiteX4" fmla="*/ 4685041 w 9424727"/>
              <a:gd name="connsiteY4" fmla="*/ 1803749 h 4164903"/>
              <a:gd name="connsiteX5" fmla="*/ 5098400 w 9424727"/>
              <a:gd name="connsiteY5" fmla="*/ 1108554 h 4164903"/>
              <a:gd name="connsiteX6" fmla="*/ 5380235 w 9424727"/>
              <a:gd name="connsiteY6" fmla="*/ 770351 h 4164903"/>
              <a:gd name="connsiteX7" fmla="*/ 5530548 w 9424727"/>
              <a:gd name="connsiteY7" fmla="*/ 632565 h 4164903"/>
              <a:gd name="connsiteX8" fmla="*/ 5994011 w 9424727"/>
              <a:gd name="connsiteY8" fmla="*/ 319414 h 4164903"/>
              <a:gd name="connsiteX9" fmla="*/ 6513841 w 9424727"/>
              <a:gd name="connsiteY9" fmla="*/ 112735 h 4164903"/>
              <a:gd name="connsiteX10" fmla="*/ 6758098 w 9424727"/>
              <a:gd name="connsiteY10" fmla="*/ 43842 h 4164903"/>
              <a:gd name="connsiteX11" fmla="*/ 7221561 w 9424727"/>
              <a:gd name="connsiteY11" fmla="*/ 1 h 4164903"/>
              <a:gd name="connsiteX12" fmla="*/ 9112991 w 9424727"/>
              <a:gd name="connsiteY12" fmla="*/ 751562 h 4164903"/>
              <a:gd name="connsiteX13" fmla="*/ 9401090 w 9424727"/>
              <a:gd name="connsiteY13" fmla="*/ 1791223 h 4164903"/>
              <a:gd name="connsiteX14" fmla="*/ 8879025 w 9424727"/>
              <a:gd name="connsiteY14" fmla="*/ 2907830 h 4164903"/>
              <a:gd name="connsiteX15" fmla="*/ 7183983 w 9424727"/>
              <a:gd name="connsiteY15" fmla="*/ 3106456 h 4164903"/>
              <a:gd name="connsiteX16" fmla="*/ 6319687 w 9424727"/>
              <a:gd name="connsiteY16" fmla="*/ 3043825 h 4164903"/>
              <a:gd name="connsiteX17" fmla="*/ 5793594 w 9424727"/>
              <a:gd name="connsiteY17" fmla="*/ 2974932 h 4164903"/>
              <a:gd name="connsiteX18" fmla="*/ 4321786 w 9424727"/>
              <a:gd name="connsiteY18" fmla="*/ 2812094 h 4164903"/>
              <a:gd name="connsiteX19" fmla="*/ 4171474 w 9424727"/>
              <a:gd name="connsiteY19" fmla="*/ 2943617 h 4164903"/>
              <a:gd name="connsiteX20" fmla="*/ 4465835 w 9424727"/>
              <a:gd name="connsiteY20" fmla="*/ 2999984 h 4164903"/>
              <a:gd name="connsiteX21" fmla="*/ 3933479 w 9424727"/>
              <a:gd name="connsiteY21" fmla="*/ 2711886 h 4164903"/>
              <a:gd name="connsiteX0" fmla="*/ 0 w 9424727"/>
              <a:gd name="connsiteY0" fmla="*/ 4199826 h 4199826"/>
              <a:gd name="connsiteX1" fmla="*/ 2655824 w 9424727"/>
              <a:gd name="connsiteY1" fmla="*/ 3773943 h 4199826"/>
              <a:gd name="connsiteX2" fmla="*/ 4321786 w 9424727"/>
              <a:gd name="connsiteY2" fmla="*/ 2809439 h 4199826"/>
              <a:gd name="connsiteX3" fmla="*/ 4553517 w 9424727"/>
              <a:gd name="connsiteY3" fmla="*/ 2289609 h 4199826"/>
              <a:gd name="connsiteX4" fmla="*/ 4685041 w 9424727"/>
              <a:gd name="connsiteY4" fmla="*/ 1838672 h 4199826"/>
              <a:gd name="connsiteX5" fmla="*/ 5098400 w 9424727"/>
              <a:gd name="connsiteY5" fmla="*/ 1143477 h 4199826"/>
              <a:gd name="connsiteX6" fmla="*/ 5380235 w 9424727"/>
              <a:gd name="connsiteY6" fmla="*/ 805274 h 4199826"/>
              <a:gd name="connsiteX7" fmla="*/ 5530548 w 9424727"/>
              <a:gd name="connsiteY7" fmla="*/ 667488 h 4199826"/>
              <a:gd name="connsiteX8" fmla="*/ 5994011 w 9424727"/>
              <a:gd name="connsiteY8" fmla="*/ 354337 h 4199826"/>
              <a:gd name="connsiteX9" fmla="*/ 6513841 w 9424727"/>
              <a:gd name="connsiteY9" fmla="*/ 147658 h 4199826"/>
              <a:gd name="connsiteX10" fmla="*/ 7221561 w 9424727"/>
              <a:gd name="connsiteY10" fmla="*/ 34924 h 4199826"/>
              <a:gd name="connsiteX11" fmla="*/ 9112991 w 9424727"/>
              <a:gd name="connsiteY11" fmla="*/ 786485 h 4199826"/>
              <a:gd name="connsiteX12" fmla="*/ 9401090 w 9424727"/>
              <a:gd name="connsiteY12" fmla="*/ 1826146 h 4199826"/>
              <a:gd name="connsiteX13" fmla="*/ 8879025 w 9424727"/>
              <a:gd name="connsiteY13" fmla="*/ 2942753 h 4199826"/>
              <a:gd name="connsiteX14" fmla="*/ 7183983 w 9424727"/>
              <a:gd name="connsiteY14" fmla="*/ 3141379 h 4199826"/>
              <a:gd name="connsiteX15" fmla="*/ 6319687 w 9424727"/>
              <a:gd name="connsiteY15" fmla="*/ 3078748 h 4199826"/>
              <a:gd name="connsiteX16" fmla="*/ 5793594 w 9424727"/>
              <a:gd name="connsiteY16" fmla="*/ 3009855 h 4199826"/>
              <a:gd name="connsiteX17" fmla="*/ 4321786 w 9424727"/>
              <a:gd name="connsiteY17" fmla="*/ 2847017 h 4199826"/>
              <a:gd name="connsiteX18" fmla="*/ 4171474 w 9424727"/>
              <a:gd name="connsiteY18" fmla="*/ 2978540 h 4199826"/>
              <a:gd name="connsiteX19" fmla="*/ 4465835 w 9424727"/>
              <a:gd name="connsiteY19" fmla="*/ 3034907 h 4199826"/>
              <a:gd name="connsiteX20" fmla="*/ 3933479 w 9424727"/>
              <a:gd name="connsiteY20" fmla="*/ 2746809 h 4199826"/>
              <a:gd name="connsiteX0" fmla="*/ 0 w 9455586"/>
              <a:gd name="connsiteY0" fmla="*/ 4067256 h 4067256"/>
              <a:gd name="connsiteX1" fmla="*/ 2655824 w 9455586"/>
              <a:gd name="connsiteY1" fmla="*/ 3641373 h 4067256"/>
              <a:gd name="connsiteX2" fmla="*/ 4321786 w 9455586"/>
              <a:gd name="connsiteY2" fmla="*/ 2676869 h 4067256"/>
              <a:gd name="connsiteX3" fmla="*/ 4553517 w 9455586"/>
              <a:gd name="connsiteY3" fmla="*/ 2157039 h 4067256"/>
              <a:gd name="connsiteX4" fmla="*/ 4685041 w 9455586"/>
              <a:gd name="connsiteY4" fmla="*/ 1706102 h 4067256"/>
              <a:gd name="connsiteX5" fmla="*/ 5098400 w 9455586"/>
              <a:gd name="connsiteY5" fmla="*/ 1010907 h 4067256"/>
              <a:gd name="connsiteX6" fmla="*/ 5380235 w 9455586"/>
              <a:gd name="connsiteY6" fmla="*/ 672704 h 4067256"/>
              <a:gd name="connsiteX7" fmla="*/ 5530548 w 9455586"/>
              <a:gd name="connsiteY7" fmla="*/ 534918 h 4067256"/>
              <a:gd name="connsiteX8" fmla="*/ 5994011 w 9455586"/>
              <a:gd name="connsiteY8" fmla="*/ 221767 h 4067256"/>
              <a:gd name="connsiteX9" fmla="*/ 6513841 w 9455586"/>
              <a:gd name="connsiteY9" fmla="*/ 15088 h 4067256"/>
              <a:gd name="connsiteX10" fmla="*/ 9112991 w 9455586"/>
              <a:gd name="connsiteY10" fmla="*/ 653915 h 4067256"/>
              <a:gd name="connsiteX11" fmla="*/ 9401090 w 9455586"/>
              <a:gd name="connsiteY11" fmla="*/ 1693576 h 4067256"/>
              <a:gd name="connsiteX12" fmla="*/ 8879025 w 9455586"/>
              <a:gd name="connsiteY12" fmla="*/ 2810183 h 4067256"/>
              <a:gd name="connsiteX13" fmla="*/ 7183983 w 9455586"/>
              <a:gd name="connsiteY13" fmla="*/ 3008809 h 4067256"/>
              <a:gd name="connsiteX14" fmla="*/ 6319687 w 9455586"/>
              <a:gd name="connsiteY14" fmla="*/ 2946178 h 4067256"/>
              <a:gd name="connsiteX15" fmla="*/ 5793594 w 9455586"/>
              <a:gd name="connsiteY15" fmla="*/ 2877285 h 4067256"/>
              <a:gd name="connsiteX16" fmla="*/ 4321786 w 9455586"/>
              <a:gd name="connsiteY16" fmla="*/ 2714447 h 4067256"/>
              <a:gd name="connsiteX17" fmla="*/ 4171474 w 9455586"/>
              <a:gd name="connsiteY17" fmla="*/ 2845970 h 4067256"/>
              <a:gd name="connsiteX18" fmla="*/ 4465835 w 9455586"/>
              <a:gd name="connsiteY18" fmla="*/ 2902337 h 4067256"/>
              <a:gd name="connsiteX19" fmla="*/ 3933479 w 9455586"/>
              <a:gd name="connsiteY19" fmla="*/ 2614239 h 4067256"/>
              <a:gd name="connsiteX0" fmla="*/ 0 w 9537828"/>
              <a:gd name="connsiteY0" fmla="*/ 4133826 h 4133826"/>
              <a:gd name="connsiteX1" fmla="*/ 2655824 w 9537828"/>
              <a:gd name="connsiteY1" fmla="*/ 3707943 h 4133826"/>
              <a:gd name="connsiteX2" fmla="*/ 4321786 w 9537828"/>
              <a:gd name="connsiteY2" fmla="*/ 2743439 h 4133826"/>
              <a:gd name="connsiteX3" fmla="*/ 4553517 w 9537828"/>
              <a:gd name="connsiteY3" fmla="*/ 2223609 h 4133826"/>
              <a:gd name="connsiteX4" fmla="*/ 4685041 w 9537828"/>
              <a:gd name="connsiteY4" fmla="*/ 1772672 h 4133826"/>
              <a:gd name="connsiteX5" fmla="*/ 5098400 w 9537828"/>
              <a:gd name="connsiteY5" fmla="*/ 1077477 h 4133826"/>
              <a:gd name="connsiteX6" fmla="*/ 5380235 w 9537828"/>
              <a:gd name="connsiteY6" fmla="*/ 739274 h 4133826"/>
              <a:gd name="connsiteX7" fmla="*/ 5530548 w 9537828"/>
              <a:gd name="connsiteY7" fmla="*/ 601488 h 4133826"/>
              <a:gd name="connsiteX8" fmla="*/ 5994011 w 9537828"/>
              <a:gd name="connsiteY8" fmla="*/ 288337 h 4133826"/>
              <a:gd name="connsiteX9" fmla="*/ 6513841 w 9537828"/>
              <a:gd name="connsiteY9" fmla="*/ 81658 h 4133826"/>
              <a:gd name="connsiteX10" fmla="*/ 9401090 w 9537828"/>
              <a:gd name="connsiteY10" fmla="*/ 1760146 h 4133826"/>
              <a:gd name="connsiteX11" fmla="*/ 8879025 w 9537828"/>
              <a:gd name="connsiteY11" fmla="*/ 2876753 h 4133826"/>
              <a:gd name="connsiteX12" fmla="*/ 7183983 w 9537828"/>
              <a:gd name="connsiteY12" fmla="*/ 3075379 h 4133826"/>
              <a:gd name="connsiteX13" fmla="*/ 6319687 w 9537828"/>
              <a:gd name="connsiteY13" fmla="*/ 3012748 h 4133826"/>
              <a:gd name="connsiteX14" fmla="*/ 5793594 w 9537828"/>
              <a:gd name="connsiteY14" fmla="*/ 2943855 h 4133826"/>
              <a:gd name="connsiteX15" fmla="*/ 4321786 w 9537828"/>
              <a:gd name="connsiteY15" fmla="*/ 2781017 h 4133826"/>
              <a:gd name="connsiteX16" fmla="*/ 4171474 w 9537828"/>
              <a:gd name="connsiteY16" fmla="*/ 2912540 h 4133826"/>
              <a:gd name="connsiteX17" fmla="*/ 4465835 w 9537828"/>
              <a:gd name="connsiteY17" fmla="*/ 2968907 h 4133826"/>
              <a:gd name="connsiteX18" fmla="*/ 3933479 w 9537828"/>
              <a:gd name="connsiteY18" fmla="*/ 2680809 h 4133826"/>
              <a:gd name="connsiteX0" fmla="*/ 0 w 9574428"/>
              <a:gd name="connsiteY0" fmla="*/ 3895190 h 3895190"/>
              <a:gd name="connsiteX1" fmla="*/ 2655824 w 9574428"/>
              <a:gd name="connsiteY1" fmla="*/ 3469307 h 3895190"/>
              <a:gd name="connsiteX2" fmla="*/ 4321786 w 9574428"/>
              <a:gd name="connsiteY2" fmla="*/ 2504803 h 3895190"/>
              <a:gd name="connsiteX3" fmla="*/ 4553517 w 9574428"/>
              <a:gd name="connsiteY3" fmla="*/ 1984973 h 3895190"/>
              <a:gd name="connsiteX4" fmla="*/ 4685041 w 9574428"/>
              <a:gd name="connsiteY4" fmla="*/ 1534036 h 3895190"/>
              <a:gd name="connsiteX5" fmla="*/ 5098400 w 9574428"/>
              <a:gd name="connsiteY5" fmla="*/ 838841 h 3895190"/>
              <a:gd name="connsiteX6" fmla="*/ 5380235 w 9574428"/>
              <a:gd name="connsiteY6" fmla="*/ 500638 h 3895190"/>
              <a:gd name="connsiteX7" fmla="*/ 5530548 w 9574428"/>
              <a:gd name="connsiteY7" fmla="*/ 362852 h 3895190"/>
              <a:gd name="connsiteX8" fmla="*/ 5994011 w 9574428"/>
              <a:gd name="connsiteY8" fmla="*/ 49701 h 3895190"/>
              <a:gd name="connsiteX9" fmla="*/ 9401090 w 9574428"/>
              <a:gd name="connsiteY9" fmla="*/ 1521510 h 3895190"/>
              <a:gd name="connsiteX10" fmla="*/ 8879025 w 9574428"/>
              <a:gd name="connsiteY10" fmla="*/ 2638117 h 3895190"/>
              <a:gd name="connsiteX11" fmla="*/ 7183983 w 9574428"/>
              <a:gd name="connsiteY11" fmla="*/ 2836743 h 3895190"/>
              <a:gd name="connsiteX12" fmla="*/ 6319687 w 9574428"/>
              <a:gd name="connsiteY12" fmla="*/ 2774112 h 3895190"/>
              <a:gd name="connsiteX13" fmla="*/ 5793594 w 9574428"/>
              <a:gd name="connsiteY13" fmla="*/ 2705219 h 3895190"/>
              <a:gd name="connsiteX14" fmla="*/ 4321786 w 9574428"/>
              <a:gd name="connsiteY14" fmla="*/ 2542381 h 3895190"/>
              <a:gd name="connsiteX15" fmla="*/ 4171474 w 9574428"/>
              <a:gd name="connsiteY15" fmla="*/ 2673904 h 3895190"/>
              <a:gd name="connsiteX16" fmla="*/ 4465835 w 9574428"/>
              <a:gd name="connsiteY16" fmla="*/ 2730271 h 3895190"/>
              <a:gd name="connsiteX17" fmla="*/ 3933479 w 9574428"/>
              <a:gd name="connsiteY17" fmla="*/ 2442173 h 3895190"/>
              <a:gd name="connsiteX0" fmla="*/ 0 w 9434022"/>
              <a:gd name="connsiteY0" fmla="*/ 4067155 h 4067155"/>
              <a:gd name="connsiteX1" fmla="*/ 2655824 w 9434022"/>
              <a:gd name="connsiteY1" fmla="*/ 3641272 h 4067155"/>
              <a:gd name="connsiteX2" fmla="*/ 4321786 w 9434022"/>
              <a:gd name="connsiteY2" fmla="*/ 2676768 h 4067155"/>
              <a:gd name="connsiteX3" fmla="*/ 4553517 w 9434022"/>
              <a:gd name="connsiteY3" fmla="*/ 2156938 h 4067155"/>
              <a:gd name="connsiteX4" fmla="*/ 4685041 w 9434022"/>
              <a:gd name="connsiteY4" fmla="*/ 1706001 h 4067155"/>
              <a:gd name="connsiteX5" fmla="*/ 5098400 w 9434022"/>
              <a:gd name="connsiteY5" fmla="*/ 1010806 h 4067155"/>
              <a:gd name="connsiteX6" fmla="*/ 5380235 w 9434022"/>
              <a:gd name="connsiteY6" fmla="*/ 672603 h 4067155"/>
              <a:gd name="connsiteX7" fmla="*/ 5530548 w 9434022"/>
              <a:gd name="connsiteY7" fmla="*/ 534817 h 4067155"/>
              <a:gd name="connsiteX8" fmla="*/ 8085348 w 9434022"/>
              <a:gd name="connsiteY8" fmla="*/ 38888 h 4067155"/>
              <a:gd name="connsiteX9" fmla="*/ 9401090 w 9434022"/>
              <a:gd name="connsiteY9" fmla="*/ 1693475 h 4067155"/>
              <a:gd name="connsiteX10" fmla="*/ 8879025 w 9434022"/>
              <a:gd name="connsiteY10" fmla="*/ 2810082 h 4067155"/>
              <a:gd name="connsiteX11" fmla="*/ 7183983 w 9434022"/>
              <a:gd name="connsiteY11" fmla="*/ 3008708 h 4067155"/>
              <a:gd name="connsiteX12" fmla="*/ 6319687 w 9434022"/>
              <a:gd name="connsiteY12" fmla="*/ 2946077 h 4067155"/>
              <a:gd name="connsiteX13" fmla="*/ 5793594 w 9434022"/>
              <a:gd name="connsiteY13" fmla="*/ 2877184 h 4067155"/>
              <a:gd name="connsiteX14" fmla="*/ 4321786 w 9434022"/>
              <a:gd name="connsiteY14" fmla="*/ 2714346 h 4067155"/>
              <a:gd name="connsiteX15" fmla="*/ 4171474 w 9434022"/>
              <a:gd name="connsiteY15" fmla="*/ 2845869 h 4067155"/>
              <a:gd name="connsiteX16" fmla="*/ 4465835 w 9434022"/>
              <a:gd name="connsiteY16" fmla="*/ 2902236 h 4067155"/>
              <a:gd name="connsiteX17" fmla="*/ 3933479 w 9434022"/>
              <a:gd name="connsiteY17" fmla="*/ 2614138 h 4067155"/>
              <a:gd name="connsiteX0" fmla="*/ 0 w 9434022"/>
              <a:gd name="connsiteY0" fmla="*/ 4070221 h 4070221"/>
              <a:gd name="connsiteX1" fmla="*/ 2655824 w 9434022"/>
              <a:gd name="connsiteY1" fmla="*/ 3644338 h 4070221"/>
              <a:gd name="connsiteX2" fmla="*/ 4321786 w 9434022"/>
              <a:gd name="connsiteY2" fmla="*/ 2679834 h 4070221"/>
              <a:gd name="connsiteX3" fmla="*/ 4553517 w 9434022"/>
              <a:gd name="connsiteY3" fmla="*/ 2160004 h 4070221"/>
              <a:gd name="connsiteX4" fmla="*/ 4685041 w 9434022"/>
              <a:gd name="connsiteY4" fmla="*/ 1709067 h 4070221"/>
              <a:gd name="connsiteX5" fmla="*/ 5098400 w 9434022"/>
              <a:gd name="connsiteY5" fmla="*/ 1013872 h 4070221"/>
              <a:gd name="connsiteX6" fmla="*/ 5530548 w 9434022"/>
              <a:gd name="connsiteY6" fmla="*/ 537883 h 4070221"/>
              <a:gd name="connsiteX7" fmla="*/ 8085348 w 9434022"/>
              <a:gd name="connsiteY7" fmla="*/ 41954 h 4070221"/>
              <a:gd name="connsiteX8" fmla="*/ 9401090 w 9434022"/>
              <a:gd name="connsiteY8" fmla="*/ 1696541 h 4070221"/>
              <a:gd name="connsiteX9" fmla="*/ 8879025 w 9434022"/>
              <a:gd name="connsiteY9" fmla="*/ 2813148 h 4070221"/>
              <a:gd name="connsiteX10" fmla="*/ 7183983 w 9434022"/>
              <a:gd name="connsiteY10" fmla="*/ 3011774 h 4070221"/>
              <a:gd name="connsiteX11" fmla="*/ 6319687 w 9434022"/>
              <a:gd name="connsiteY11" fmla="*/ 2949143 h 4070221"/>
              <a:gd name="connsiteX12" fmla="*/ 5793594 w 9434022"/>
              <a:gd name="connsiteY12" fmla="*/ 2880250 h 4070221"/>
              <a:gd name="connsiteX13" fmla="*/ 4321786 w 9434022"/>
              <a:gd name="connsiteY13" fmla="*/ 2717412 h 4070221"/>
              <a:gd name="connsiteX14" fmla="*/ 4171474 w 9434022"/>
              <a:gd name="connsiteY14" fmla="*/ 2848935 h 4070221"/>
              <a:gd name="connsiteX15" fmla="*/ 4465835 w 9434022"/>
              <a:gd name="connsiteY15" fmla="*/ 2905302 h 4070221"/>
              <a:gd name="connsiteX16" fmla="*/ 3933479 w 9434022"/>
              <a:gd name="connsiteY16" fmla="*/ 2617204 h 4070221"/>
              <a:gd name="connsiteX0" fmla="*/ 0 w 9434022"/>
              <a:gd name="connsiteY0" fmla="*/ 4078111 h 4078111"/>
              <a:gd name="connsiteX1" fmla="*/ 2655824 w 9434022"/>
              <a:gd name="connsiteY1" fmla="*/ 3652228 h 4078111"/>
              <a:gd name="connsiteX2" fmla="*/ 4321786 w 9434022"/>
              <a:gd name="connsiteY2" fmla="*/ 2687724 h 4078111"/>
              <a:gd name="connsiteX3" fmla="*/ 4553517 w 9434022"/>
              <a:gd name="connsiteY3" fmla="*/ 2167894 h 4078111"/>
              <a:gd name="connsiteX4" fmla="*/ 4685041 w 9434022"/>
              <a:gd name="connsiteY4" fmla="*/ 1716957 h 4078111"/>
              <a:gd name="connsiteX5" fmla="*/ 5530548 w 9434022"/>
              <a:gd name="connsiteY5" fmla="*/ 545773 h 4078111"/>
              <a:gd name="connsiteX6" fmla="*/ 8085348 w 9434022"/>
              <a:gd name="connsiteY6" fmla="*/ 49844 h 4078111"/>
              <a:gd name="connsiteX7" fmla="*/ 9401090 w 9434022"/>
              <a:gd name="connsiteY7" fmla="*/ 1704431 h 4078111"/>
              <a:gd name="connsiteX8" fmla="*/ 8879025 w 9434022"/>
              <a:gd name="connsiteY8" fmla="*/ 2821038 h 4078111"/>
              <a:gd name="connsiteX9" fmla="*/ 7183983 w 9434022"/>
              <a:gd name="connsiteY9" fmla="*/ 3019664 h 4078111"/>
              <a:gd name="connsiteX10" fmla="*/ 6319687 w 9434022"/>
              <a:gd name="connsiteY10" fmla="*/ 2957033 h 4078111"/>
              <a:gd name="connsiteX11" fmla="*/ 5793594 w 9434022"/>
              <a:gd name="connsiteY11" fmla="*/ 2888140 h 4078111"/>
              <a:gd name="connsiteX12" fmla="*/ 4321786 w 9434022"/>
              <a:gd name="connsiteY12" fmla="*/ 2725302 h 4078111"/>
              <a:gd name="connsiteX13" fmla="*/ 4171474 w 9434022"/>
              <a:gd name="connsiteY13" fmla="*/ 2856825 h 4078111"/>
              <a:gd name="connsiteX14" fmla="*/ 4465835 w 9434022"/>
              <a:gd name="connsiteY14" fmla="*/ 2913192 h 4078111"/>
              <a:gd name="connsiteX15" fmla="*/ 3933479 w 9434022"/>
              <a:gd name="connsiteY15" fmla="*/ 2625094 h 4078111"/>
              <a:gd name="connsiteX0" fmla="*/ 0 w 9434022"/>
              <a:gd name="connsiteY0" fmla="*/ 4084740 h 4084740"/>
              <a:gd name="connsiteX1" fmla="*/ 2655824 w 9434022"/>
              <a:gd name="connsiteY1" fmla="*/ 3658857 h 4084740"/>
              <a:gd name="connsiteX2" fmla="*/ 4321786 w 9434022"/>
              <a:gd name="connsiteY2" fmla="*/ 2694353 h 4084740"/>
              <a:gd name="connsiteX3" fmla="*/ 4553517 w 9434022"/>
              <a:gd name="connsiteY3" fmla="*/ 2174523 h 4084740"/>
              <a:gd name="connsiteX4" fmla="*/ 5530548 w 9434022"/>
              <a:gd name="connsiteY4" fmla="*/ 552402 h 4084740"/>
              <a:gd name="connsiteX5" fmla="*/ 8085348 w 9434022"/>
              <a:gd name="connsiteY5" fmla="*/ 56473 h 4084740"/>
              <a:gd name="connsiteX6" fmla="*/ 9401090 w 9434022"/>
              <a:gd name="connsiteY6" fmla="*/ 1711060 h 4084740"/>
              <a:gd name="connsiteX7" fmla="*/ 8879025 w 9434022"/>
              <a:gd name="connsiteY7" fmla="*/ 2827667 h 4084740"/>
              <a:gd name="connsiteX8" fmla="*/ 7183983 w 9434022"/>
              <a:gd name="connsiteY8" fmla="*/ 3026293 h 4084740"/>
              <a:gd name="connsiteX9" fmla="*/ 6319687 w 9434022"/>
              <a:gd name="connsiteY9" fmla="*/ 2963662 h 4084740"/>
              <a:gd name="connsiteX10" fmla="*/ 5793594 w 9434022"/>
              <a:gd name="connsiteY10" fmla="*/ 2894769 h 4084740"/>
              <a:gd name="connsiteX11" fmla="*/ 4321786 w 9434022"/>
              <a:gd name="connsiteY11" fmla="*/ 2731931 h 4084740"/>
              <a:gd name="connsiteX12" fmla="*/ 4171474 w 9434022"/>
              <a:gd name="connsiteY12" fmla="*/ 2863454 h 4084740"/>
              <a:gd name="connsiteX13" fmla="*/ 4465835 w 9434022"/>
              <a:gd name="connsiteY13" fmla="*/ 2919821 h 4084740"/>
              <a:gd name="connsiteX14" fmla="*/ 3933479 w 9434022"/>
              <a:gd name="connsiteY14" fmla="*/ 2631723 h 4084740"/>
              <a:gd name="connsiteX0" fmla="*/ 0 w 9434022"/>
              <a:gd name="connsiteY0" fmla="*/ 4094373 h 4094373"/>
              <a:gd name="connsiteX1" fmla="*/ 2655824 w 9434022"/>
              <a:gd name="connsiteY1" fmla="*/ 3668490 h 4094373"/>
              <a:gd name="connsiteX2" fmla="*/ 4321786 w 9434022"/>
              <a:gd name="connsiteY2" fmla="*/ 2703986 h 4094373"/>
              <a:gd name="connsiteX3" fmla="*/ 5530548 w 9434022"/>
              <a:gd name="connsiteY3" fmla="*/ 562035 h 4094373"/>
              <a:gd name="connsiteX4" fmla="*/ 8085348 w 9434022"/>
              <a:gd name="connsiteY4" fmla="*/ 66106 h 4094373"/>
              <a:gd name="connsiteX5" fmla="*/ 9401090 w 9434022"/>
              <a:gd name="connsiteY5" fmla="*/ 1720693 h 4094373"/>
              <a:gd name="connsiteX6" fmla="*/ 8879025 w 9434022"/>
              <a:gd name="connsiteY6" fmla="*/ 2837300 h 4094373"/>
              <a:gd name="connsiteX7" fmla="*/ 7183983 w 9434022"/>
              <a:gd name="connsiteY7" fmla="*/ 3035926 h 4094373"/>
              <a:gd name="connsiteX8" fmla="*/ 6319687 w 9434022"/>
              <a:gd name="connsiteY8" fmla="*/ 2973295 h 4094373"/>
              <a:gd name="connsiteX9" fmla="*/ 5793594 w 9434022"/>
              <a:gd name="connsiteY9" fmla="*/ 2904402 h 4094373"/>
              <a:gd name="connsiteX10" fmla="*/ 4321786 w 9434022"/>
              <a:gd name="connsiteY10" fmla="*/ 2741564 h 4094373"/>
              <a:gd name="connsiteX11" fmla="*/ 4171474 w 9434022"/>
              <a:gd name="connsiteY11" fmla="*/ 2873087 h 4094373"/>
              <a:gd name="connsiteX12" fmla="*/ 4465835 w 9434022"/>
              <a:gd name="connsiteY12" fmla="*/ 2929454 h 4094373"/>
              <a:gd name="connsiteX13" fmla="*/ 3933479 w 9434022"/>
              <a:gd name="connsiteY13" fmla="*/ 2641356 h 4094373"/>
              <a:gd name="connsiteX0" fmla="*/ 0 w 9434022"/>
              <a:gd name="connsiteY0" fmla="*/ 4111633 h 4111633"/>
              <a:gd name="connsiteX1" fmla="*/ 2655824 w 9434022"/>
              <a:gd name="connsiteY1" fmla="*/ 3685750 h 4111633"/>
              <a:gd name="connsiteX2" fmla="*/ 4321786 w 9434022"/>
              <a:gd name="connsiteY2" fmla="*/ 2721246 h 4111633"/>
              <a:gd name="connsiteX3" fmla="*/ 5530548 w 9434022"/>
              <a:gd name="connsiteY3" fmla="*/ 579295 h 4111633"/>
              <a:gd name="connsiteX4" fmla="*/ 8085348 w 9434022"/>
              <a:gd name="connsiteY4" fmla="*/ 83366 h 4111633"/>
              <a:gd name="connsiteX5" fmla="*/ 9401090 w 9434022"/>
              <a:gd name="connsiteY5" fmla="*/ 1737953 h 4111633"/>
              <a:gd name="connsiteX6" fmla="*/ 8879025 w 9434022"/>
              <a:gd name="connsiteY6" fmla="*/ 2854560 h 4111633"/>
              <a:gd name="connsiteX7" fmla="*/ 7183983 w 9434022"/>
              <a:gd name="connsiteY7" fmla="*/ 3053186 h 4111633"/>
              <a:gd name="connsiteX8" fmla="*/ 6319687 w 9434022"/>
              <a:gd name="connsiteY8" fmla="*/ 2990555 h 4111633"/>
              <a:gd name="connsiteX9" fmla="*/ 5793594 w 9434022"/>
              <a:gd name="connsiteY9" fmla="*/ 2921662 h 4111633"/>
              <a:gd name="connsiteX10" fmla="*/ 4321786 w 9434022"/>
              <a:gd name="connsiteY10" fmla="*/ 2758824 h 4111633"/>
              <a:gd name="connsiteX11" fmla="*/ 4171474 w 9434022"/>
              <a:gd name="connsiteY11" fmla="*/ 2890347 h 4111633"/>
              <a:gd name="connsiteX12" fmla="*/ 4465835 w 9434022"/>
              <a:gd name="connsiteY12" fmla="*/ 2946714 h 4111633"/>
              <a:gd name="connsiteX13" fmla="*/ 3933479 w 9434022"/>
              <a:gd name="connsiteY13" fmla="*/ 2658616 h 4111633"/>
              <a:gd name="connsiteX0" fmla="*/ 0 w 9434022"/>
              <a:gd name="connsiteY0" fmla="*/ 4114443 h 4114443"/>
              <a:gd name="connsiteX1" fmla="*/ 2655824 w 9434022"/>
              <a:gd name="connsiteY1" fmla="*/ 3688560 h 4114443"/>
              <a:gd name="connsiteX2" fmla="*/ 4321786 w 9434022"/>
              <a:gd name="connsiteY2" fmla="*/ 2724056 h 4114443"/>
              <a:gd name="connsiteX3" fmla="*/ 5530548 w 9434022"/>
              <a:gd name="connsiteY3" fmla="*/ 582105 h 4114443"/>
              <a:gd name="connsiteX4" fmla="*/ 8085348 w 9434022"/>
              <a:gd name="connsiteY4" fmla="*/ 86176 h 4114443"/>
              <a:gd name="connsiteX5" fmla="*/ 9401090 w 9434022"/>
              <a:gd name="connsiteY5" fmla="*/ 1740763 h 4114443"/>
              <a:gd name="connsiteX6" fmla="*/ 8879025 w 9434022"/>
              <a:gd name="connsiteY6" fmla="*/ 2857370 h 4114443"/>
              <a:gd name="connsiteX7" fmla="*/ 7183983 w 9434022"/>
              <a:gd name="connsiteY7" fmla="*/ 3055996 h 4114443"/>
              <a:gd name="connsiteX8" fmla="*/ 6319687 w 9434022"/>
              <a:gd name="connsiteY8" fmla="*/ 2993365 h 4114443"/>
              <a:gd name="connsiteX9" fmla="*/ 5793594 w 9434022"/>
              <a:gd name="connsiteY9" fmla="*/ 2924472 h 4114443"/>
              <a:gd name="connsiteX10" fmla="*/ 4321786 w 9434022"/>
              <a:gd name="connsiteY10" fmla="*/ 2761634 h 4114443"/>
              <a:gd name="connsiteX11" fmla="*/ 4171474 w 9434022"/>
              <a:gd name="connsiteY11" fmla="*/ 2893157 h 4114443"/>
              <a:gd name="connsiteX12" fmla="*/ 4465835 w 9434022"/>
              <a:gd name="connsiteY12" fmla="*/ 2949524 h 4114443"/>
              <a:gd name="connsiteX13" fmla="*/ 3933479 w 9434022"/>
              <a:gd name="connsiteY13" fmla="*/ 2661426 h 4114443"/>
              <a:gd name="connsiteX0" fmla="*/ 0 w 9436146"/>
              <a:gd name="connsiteY0" fmla="*/ 4114443 h 4114443"/>
              <a:gd name="connsiteX1" fmla="*/ 2655824 w 9436146"/>
              <a:gd name="connsiteY1" fmla="*/ 3688560 h 4114443"/>
              <a:gd name="connsiteX2" fmla="*/ 4321786 w 9436146"/>
              <a:gd name="connsiteY2" fmla="*/ 2724056 h 4114443"/>
              <a:gd name="connsiteX3" fmla="*/ 5530548 w 9436146"/>
              <a:gd name="connsiteY3" fmla="*/ 582105 h 4114443"/>
              <a:gd name="connsiteX4" fmla="*/ 8085348 w 9436146"/>
              <a:gd name="connsiteY4" fmla="*/ 86176 h 4114443"/>
              <a:gd name="connsiteX5" fmla="*/ 9401090 w 9436146"/>
              <a:gd name="connsiteY5" fmla="*/ 1740763 h 4114443"/>
              <a:gd name="connsiteX6" fmla="*/ 7183983 w 9436146"/>
              <a:gd name="connsiteY6" fmla="*/ 3055996 h 4114443"/>
              <a:gd name="connsiteX7" fmla="*/ 6319687 w 9436146"/>
              <a:gd name="connsiteY7" fmla="*/ 2993365 h 4114443"/>
              <a:gd name="connsiteX8" fmla="*/ 5793594 w 9436146"/>
              <a:gd name="connsiteY8" fmla="*/ 2924472 h 4114443"/>
              <a:gd name="connsiteX9" fmla="*/ 4321786 w 9436146"/>
              <a:gd name="connsiteY9" fmla="*/ 2761634 h 4114443"/>
              <a:gd name="connsiteX10" fmla="*/ 4171474 w 9436146"/>
              <a:gd name="connsiteY10" fmla="*/ 2893157 h 4114443"/>
              <a:gd name="connsiteX11" fmla="*/ 4465835 w 9436146"/>
              <a:gd name="connsiteY11" fmla="*/ 2949524 h 4114443"/>
              <a:gd name="connsiteX12" fmla="*/ 3933479 w 9436146"/>
              <a:gd name="connsiteY12" fmla="*/ 2661426 h 4114443"/>
              <a:gd name="connsiteX0" fmla="*/ 0 w 9487927"/>
              <a:gd name="connsiteY0" fmla="*/ 4114443 h 4114443"/>
              <a:gd name="connsiteX1" fmla="*/ 2655824 w 9487927"/>
              <a:gd name="connsiteY1" fmla="*/ 3688560 h 4114443"/>
              <a:gd name="connsiteX2" fmla="*/ 4321786 w 9487927"/>
              <a:gd name="connsiteY2" fmla="*/ 2724056 h 4114443"/>
              <a:gd name="connsiteX3" fmla="*/ 5530548 w 9487927"/>
              <a:gd name="connsiteY3" fmla="*/ 582105 h 4114443"/>
              <a:gd name="connsiteX4" fmla="*/ 8085348 w 9487927"/>
              <a:gd name="connsiteY4" fmla="*/ 86176 h 4114443"/>
              <a:gd name="connsiteX5" fmla="*/ 9401090 w 9487927"/>
              <a:gd name="connsiteY5" fmla="*/ 1740763 h 4114443"/>
              <a:gd name="connsiteX6" fmla="*/ 6319687 w 9487927"/>
              <a:gd name="connsiteY6" fmla="*/ 2993365 h 4114443"/>
              <a:gd name="connsiteX7" fmla="*/ 5793594 w 9487927"/>
              <a:gd name="connsiteY7" fmla="*/ 2924472 h 4114443"/>
              <a:gd name="connsiteX8" fmla="*/ 4321786 w 9487927"/>
              <a:gd name="connsiteY8" fmla="*/ 2761634 h 4114443"/>
              <a:gd name="connsiteX9" fmla="*/ 4171474 w 9487927"/>
              <a:gd name="connsiteY9" fmla="*/ 2893157 h 4114443"/>
              <a:gd name="connsiteX10" fmla="*/ 4465835 w 9487927"/>
              <a:gd name="connsiteY10" fmla="*/ 2949524 h 4114443"/>
              <a:gd name="connsiteX11" fmla="*/ 3933479 w 9487927"/>
              <a:gd name="connsiteY11" fmla="*/ 2661426 h 4114443"/>
              <a:gd name="connsiteX0" fmla="*/ 0 w 9522079"/>
              <a:gd name="connsiteY0" fmla="*/ 4114443 h 4114443"/>
              <a:gd name="connsiteX1" fmla="*/ 2655824 w 9522079"/>
              <a:gd name="connsiteY1" fmla="*/ 3688560 h 4114443"/>
              <a:gd name="connsiteX2" fmla="*/ 4321786 w 9522079"/>
              <a:gd name="connsiteY2" fmla="*/ 2724056 h 4114443"/>
              <a:gd name="connsiteX3" fmla="*/ 5530548 w 9522079"/>
              <a:gd name="connsiteY3" fmla="*/ 582105 h 4114443"/>
              <a:gd name="connsiteX4" fmla="*/ 8085348 w 9522079"/>
              <a:gd name="connsiteY4" fmla="*/ 86176 h 4114443"/>
              <a:gd name="connsiteX5" fmla="*/ 9401090 w 9522079"/>
              <a:gd name="connsiteY5" fmla="*/ 1740763 h 4114443"/>
              <a:gd name="connsiteX6" fmla="*/ 5793594 w 9522079"/>
              <a:gd name="connsiteY6" fmla="*/ 2924472 h 4114443"/>
              <a:gd name="connsiteX7" fmla="*/ 4321786 w 9522079"/>
              <a:gd name="connsiteY7" fmla="*/ 2761634 h 4114443"/>
              <a:gd name="connsiteX8" fmla="*/ 4171474 w 9522079"/>
              <a:gd name="connsiteY8" fmla="*/ 2893157 h 4114443"/>
              <a:gd name="connsiteX9" fmla="*/ 4465835 w 9522079"/>
              <a:gd name="connsiteY9" fmla="*/ 2949524 h 4114443"/>
              <a:gd name="connsiteX10" fmla="*/ 3933479 w 9522079"/>
              <a:gd name="connsiteY10" fmla="*/ 2661426 h 4114443"/>
              <a:gd name="connsiteX0" fmla="*/ 0 w 9479057"/>
              <a:gd name="connsiteY0" fmla="*/ 4043405 h 4043405"/>
              <a:gd name="connsiteX1" fmla="*/ 2655824 w 9479057"/>
              <a:gd name="connsiteY1" fmla="*/ 3617522 h 4043405"/>
              <a:gd name="connsiteX2" fmla="*/ 4321786 w 9479057"/>
              <a:gd name="connsiteY2" fmla="*/ 2653018 h 4043405"/>
              <a:gd name="connsiteX3" fmla="*/ 5905675 w 9479057"/>
              <a:gd name="connsiteY3" fmla="*/ 951395 h 4043405"/>
              <a:gd name="connsiteX4" fmla="*/ 8085348 w 9479057"/>
              <a:gd name="connsiteY4" fmla="*/ 15138 h 4043405"/>
              <a:gd name="connsiteX5" fmla="*/ 9401090 w 9479057"/>
              <a:gd name="connsiteY5" fmla="*/ 1669725 h 4043405"/>
              <a:gd name="connsiteX6" fmla="*/ 5793594 w 9479057"/>
              <a:gd name="connsiteY6" fmla="*/ 2853434 h 4043405"/>
              <a:gd name="connsiteX7" fmla="*/ 4321786 w 9479057"/>
              <a:gd name="connsiteY7" fmla="*/ 2690596 h 4043405"/>
              <a:gd name="connsiteX8" fmla="*/ 4171474 w 9479057"/>
              <a:gd name="connsiteY8" fmla="*/ 2822119 h 4043405"/>
              <a:gd name="connsiteX9" fmla="*/ 4465835 w 9479057"/>
              <a:gd name="connsiteY9" fmla="*/ 2878486 h 4043405"/>
              <a:gd name="connsiteX10" fmla="*/ 3933479 w 9479057"/>
              <a:gd name="connsiteY10" fmla="*/ 2590388 h 4043405"/>
              <a:gd name="connsiteX0" fmla="*/ 0 w 9603591"/>
              <a:gd name="connsiteY0" fmla="*/ 4028628 h 4028628"/>
              <a:gd name="connsiteX1" fmla="*/ 2655824 w 9603591"/>
              <a:gd name="connsiteY1" fmla="*/ 3602745 h 4028628"/>
              <a:gd name="connsiteX2" fmla="*/ 4321786 w 9603591"/>
              <a:gd name="connsiteY2" fmla="*/ 2638241 h 4028628"/>
              <a:gd name="connsiteX3" fmla="*/ 5905675 w 9603591"/>
              <a:gd name="connsiteY3" fmla="*/ 936618 h 4028628"/>
              <a:gd name="connsiteX4" fmla="*/ 8085348 w 9603591"/>
              <a:gd name="connsiteY4" fmla="*/ 361 h 4028628"/>
              <a:gd name="connsiteX5" fmla="*/ 9401090 w 9603591"/>
              <a:gd name="connsiteY5" fmla="*/ 1654948 h 4028628"/>
              <a:gd name="connsiteX6" fmla="*/ 5793594 w 9603591"/>
              <a:gd name="connsiteY6" fmla="*/ 2838657 h 4028628"/>
              <a:gd name="connsiteX7" fmla="*/ 4321786 w 9603591"/>
              <a:gd name="connsiteY7" fmla="*/ 2675819 h 4028628"/>
              <a:gd name="connsiteX8" fmla="*/ 4171474 w 9603591"/>
              <a:gd name="connsiteY8" fmla="*/ 2807342 h 4028628"/>
              <a:gd name="connsiteX9" fmla="*/ 4465835 w 9603591"/>
              <a:gd name="connsiteY9" fmla="*/ 2863709 h 4028628"/>
              <a:gd name="connsiteX10" fmla="*/ 3933479 w 9603591"/>
              <a:gd name="connsiteY10" fmla="*/ 2575611 h 4028628"/>
              <a:gd name="connsiteX0" fmla="*/ 0 w 9602407"/>
              <a:gd name="connsiteY0" fmla="*/ 4039392 h 4039392"/>
              <a:gd name="connsiteX1" fmla="*/ 2655824 w 9602407"/>
              <a:gd name="connsiteY1" fmla="*/ 3613509 h 4039392"/>
              <a:gd name="connsiteX2" fmla="*/ 4321786 w 9602407"/>
              <a:gd name="connsiteY2" fmla="*/ 2649005 h 4039392"/>
              <a:gd name="connsiteX3" fmla="*/ 5905675 w 9602407"/>
              <a:gd name="connsiteY3" fmla="*/ 947382 h 4039392"/>
              <a:gd name="connsiteX4" fmla="*/ 8085348 w 9602407"/>
              <a:gd name="connsiteY4" fmla="*/ 11125 h 4039392"/>
              <a:gd name="connsiteX5" fmla="*/ 9401090 w 9602407"/>
              <a:gd name="connsiteY5" fmla="*/ 1665712 h 4039392"/>
              <a:gd name="connsiteX6" fmla="*/ 5793594 w 9602407"/>
              <a:gd name="connsiteY6" fmla="*/ 2849421 h 4039392"/>
              <a:gd name="connsiteX7" fmla="*/ 4321786 w 9602407"/>
              <a:gd name="connsiteY7" fmla="*/ 2686583 h 4039392"/>
              <a:gd name="connsiteX8" fmla="*/ 4171474 w 9602407"/>
              <a:gd name="connsiteY8" fmla="*/ 2818106 h 4039392"/>
              <a:gd name="connsiteX9" fmla="*/ 4465835 w 9602407"/>
              <a:gd name="connsiteY9" fmla="*/ 2874473 h 4039392"/>
              <a:gd name="connsiteX10" fmla="*/ 3933479 w 9602407"/>
              <a:gd name="connsiteY10" fmla="*/ 2586375 h 4039392"/>
              <a:gd name="connsiteX0" fmla="*/ 0 w 9656300"/>
              <a:gd name="connsiteY0" fmla="*/ 4038473 h 4038473"/>
              <a:gd name="connsiteX1" fmla="*/ 2655824 w 9656300"/>
              <a:gd name="connsiteY1" fmla="*/ 3612590 h 4038473"/>
              <a:gd name="connsiteX2" fmla="*/ 4321786 w 9656300"/>
              <a:gd name="connsiteY2" fmla="*/ 2648086 h 4038473"/>
              <a:gd name="connsiteX3" fmla="*/ 5905675 w 9656300"/>
              <a:gd name="connsiteY3" fmla="*/ 946463 h 4038473"/>
              <a:gd name="connsiteX4" fmla="*/ 8085348 w 9656300"/>
              <a:gd name="connsiteY4" fmla="*/ 10206 h 4038473"/>
              <a:gd name="connsiteX5" fmla="*/ 9401090 w 9656300"/>
              <a:gd name="connsiteY5" fmla="*/ 1664793 h 4038473"/>
              <a:gd name="connsiteX6" fmla="*/ 5793594 w 9656300"/>
              <a:gd name="connsiteY6" fmla="*/ 2848502 h 4038473"/>
              <a:gd name="connsiteX7" fmla="*/ 4321786 w 9656300"/>
              <a:gd name="connsiteY7" fmla="*/ 2685664 h 4038473"/>
              <a:gd name="connsiteX8" fmla="*/ 4171474 w 9656300"/>
              <a:gd name="connsiteY8" fmla="*/ 2817187 h 4038473"/>
              <a:gd name="connsiteX9" fmla="*/ 4465835 w 9656300"/>
              <a:gd name="connsiteY9" fmla="*/ 2873554 h 4038473"/>
              <a:gd name="connsiteX10" fmla="*/ 3933479 w 9656300"/>
              <a:gd name="connsiteY10" fmla="*/ 2585456 h 4038473"/>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86218"/>
              <a:gd name="connsiteY0" fmla="*/ 4038961 h 4038961"/>
              <a:gd name="connsiteX1" fmla="*/ 2655824 w 9586218"/>
              <a:gd name="connsiteY1" fmla="*/ 3613078 h 4038961"/>
              <a:gd name="connsiteX2" fmla="*/ 4321786 w 9586218"/>
              <a:gd name="connsiteY2" fmla="*/ 2648574 h 4038961"/>
              <a:gd name="connsiteX3" fmla="*/ 5905675 w 9586218"/>
              <a:gd name="connsiteY3" fmla="*/ 946951 h 4038961"/>
              <a:gd name="connsiteX4" fmla="*/ 8085348 w 9586218"/>
              <a:gd name="connsiteY4" fmla="*/ 10694 h 4038961"/>
              <a:gd name="connsiteX5" fmla="*/ 9401090 w 9586218"/>
              <a:gd name="connsiteY5" fmla="*/ 1665281 h 4038961"/>
              <a:gd name="connsiteX6" fmla="*/ 6365664 w 9586218"/>
              <a:gd name="connsiteY6" fmla="*/ 2749294 h 4038961"/>
              <a:gd name="connsiteX7" fmla="*/ 4321786 w 9586218"/>
              <a:gd name="connsiteY7" fmla="*/ 2686152 h 4038961"/>
              <a:gd name="connsiteX8" fmla="*/ 4171474 w 9586218"/>
              <a:gd name="connsiteY8" fmla="*/ 2817675 h 4038961"/>
              <a:gd name="connsiteX9" fmla="*/ 4465835 w 9586218"/>
              <a:gd name="connsiteY9" fmla="*/ 2874042 h 4038961"/>
              <a:gd name="connsiteX10" fmla="*/ 3933479 w 9586218"/>
              <a:gd name="connsiteY10" fmla="*/ 2585944 h 4038961"/>
              <a:gd name="connsiteX0" fmla="*/ 0 w 9669443"/>
              <a:gd name="connsiteY0" fmla="*/ 4041204 h 4041204"/>
              <a:gd name="connsiteX1" fmla="*/ 2655824 w 9669443"/>
              <a:gd name="connsiteY1" fmla="*/ 3615321 h 4041204"/>
              <a:gd name="connsiteX2" fmla="*/ 4321786 w 9669443"/>
              <a:gd name="connsiteY2" fmla="*/ 2650817 h 4041204"/>
              <a:gd name="connsiteX3" fmla="*/ 5905675 w 9669443"/>
              <a:gd name="connsiteY3" fmla="*/ 949194 h 4041204"/>
              <a:gd name="connsiteX4" fmla="*/ 8085348 w 9669443"/>
              <a:gd name="connsiteY4" fmla="*/ 12937 h 4041204"/>
              <a:gd name="connsiteX5" fmla="*/ 9401090 w 9669443"/>
              <a:gd name="connsiteY5" fmla="*/ 1667524 h 4041204"/>
              <a:gd name="connsiteX6" fmla="*/ 6365664 w 9669443"/>
              <a:gd name="connsiteY6" fmla="*/ 2751537 h 4041204"/>
              <a:gd name="connsiteX7" fmla="*/ 4321786 w 9669443"/>
              <a:gd name="connsiteY7" fmla="*/ 2688395 h 4041204"/>
              <a:gd name="connsiteX8" fmla="*/ 4171474 w 9669443"/>
              <a:gd name="connsiteY8" fmla="*/ 2819918 h 4041204"/>
              <a:gd name="connsiteX9" fmla="*/ 4465835 w 9669443"/>
              <a:gd name="connsiteY9" fmla="*/ 2876285 h 4041204"/>
              <a:gd name="connsiteX10" fmla="*/ 3933479 w 9669443"/>
              <a:gd name="connsiteY10" fmla="*/ 2588187 h 4041204"/>
              <a:gd name="connsiteX0" fmla="*/ 0 w 7013619"/>
              <a:gd name="connsiteY0" fmla="*/ 3615321 h 3615322"/>
              <a:gd name="connsiteX1" fmla="*/ 1665962 w 7013619"/>
              <a:gd name="connsiteY1" fmla="*/ 2650817 h 3615322"/>
              <a:gd name="connsiteX2" fmla="*/ 3249851 w 7013619"/>
              <a:gd name="connsiteY2" fmla="*/ 949194 h 3615322"/>
              <a:gd name="connsiteX3" fmla="*/ 5429524 w 7013619"/>
              <a:gd name="connsiteY3" fmla="*/ 12937 h 3615322"/>
              <a:gd name="connsiteX4" fmla="*/ 6745266 w 7013619"/>
              <a:gd name="connsiteY4" fmla="*/ 1667524 h 3615322"/>
              <a:gd name="connsiteX5" fmla="*/ 3709840 w 7013619"/>
              <a:gd name="connsiteY5" fmla="*/ 2751537 h 3615322"/>
              <a:gd name="connsiteX6" fmla="*/ 1665962 w 7013619"/>
              <a:gd name="connsiteY6" fmla="*/ 2688395 h 3615322"/>
              <a:gd name="connsiteX7" fmla="*/ 1515650 w 7013619"/>
              <a:gd name="connsiteY7" fmla="*/ 2819918 h 3615322"/>
              <a:gd name="connsiteX8" fmla="*/ 1810011 w 7013619"/>
              <a:gd name="connsiteY8" fmla="*/ 2876285 h 3615322"/>
              <a:gd name="connsiteX9" fmla="*/ 1277655 w 7013619"/>
              <a:gd name="connsiteY9" fmla="*/ 2588187 h 3615322"/>
              <a:gd name="connsiteX0" fmla="*/ 388307 w 5735964"/>
              <a:gd name="connsiteY0" fmla="*/ 2650817 h 2894524"/>
              <a:gd name="connsiteX1" fmla="*/ 1972196 w 5735964"/>
              <a:gd name="connsiteY1" fmla="*/ 949194 h 2894524"/>
              <a:gd name="connsiteX2" fmla="*/ 4151869 w 5735964"/>
              <a:gd name="connsiteY2" fmla="*/ 12937 h 2894524"/>
              <a:gd name="connsiteX3" fmla="*/ 5467611 w 5735964"/>
              <a:gd name="connsiteY3" fmla="*/ 1667524 h 2894524"/>
              <a:gd name="connsiteX4" fmla="*/ 2432185 w 5735964"/>
              <a:gd name="connsiteY4" fmla="*/ 2751537 h 2894524"/>
              <a:gd name="connsiteX5" fmla="*/ 388307 w 5735964"/>
              <a:gd name="connsiteY5" fmla="*/ 2688395 h 2894524"/>
              <a:gd name="connsiteX6" fmla="*/ 237995 w 5735964"/>
              <a:gd name="connsiteY6" fmla="*/ 2819918 h 2894524"/>
              <a:gd name="connsiteX7" fmla="*/ 532356 w 5735964"/>
              <a:gd name="connsiteY7" fmla="*/ 2876285 h 2894524"/>
              <a:gd name="connsiteX8" fmla="*/ 0 w 5735964"/>
              <a:gd name="connsiteY8" fmla="*/ 2588187 h 2894524"/>
              <a:gd name="connsiteX0" fmla="*/ 221690 w 5569347"/>
              <a:gd name="connsiteY0" fmla="*/ 2650817 h 2894524"/>
              <a:gd name="connsiteX1" fmla="*/ 1805579 w 5569347"/>
              <a:gd name="connsiteY1" fmla="*/ 949194 h 2894524"/>
              <a:gd name="connsiteX2" fmla="*/ 3985252 w 5569347"/>
              <a:gd name="connsiteY2" fmla="*/ 12937 h 2894524"/>
              <a:gd name="connsiteX3" fmla="*/ 5300994 w 5569347"/>
              <a:gd name="connsiteY3" fmla="*/ 1667524 h 2894524"/>
              <a:gd name="connsiteX4" fmla="*/ 2265568 w 5569347"/>
              <a:gd name="connsiteY4" fmla="*/ 2751537 h 2894524"/>
              <a:gd name="connsiteX5" fmla="*/ 221690 w 5569347"/>
              <a:gd name="connsiteY5" fmla="*/ 2688395 h 2894524"/>
              <a:gd name="connsiteX6" fmla="*/ 71378 w 5569347"/>
              <a:gd name="connsiteY6" fmla="*/ 2819918 h 2894524"/>
              <a:gd name="connsiteX7" fmla="*/ 365739 w 5569347"/>
              <a:gd name="connsiteY7" fmla="*/ 2876285 h 2894524"/>
              <a:gd name="connsiteX0" fmla="*/ 1805579 w 5569347"/>
              <a:gd name="connsiteY0" fmla="*/ 949194 h 2894524"/>
              <a:gd name="connsiteX1" fmla="*/ 3985252 w 5569347"/>
              <a:gd name="connsiteY1" fmla="*/ 12937 h 2894524"/>
              <a:gd name="connsiteX2" fmla="*/ 5300994 w 5569347"/>
              <a:gd name="connsiteY2" fmla="*/ 1667524 h 2894524"/>
              <a:gd name="connsiteX3" fmla="*/ 2265568 w 5569347"/>
              <a:gd name="connsiteY3" fmla="*/ 2751537 h 2894524"/>
              <a:gd name="connsiteX4" fmla="*/ 221690 w 5569347"/>
              <a:gd name="connsiteY4" fmla="*/ 2688395 h 2894524"/>
              <a:gd name="connsiteX5" fmla="*/ 71378 w 5569347"/>
              <a:gd name="connsiteY5" fmla="*/ 2819918 h 2894524"/>
              <a:gd name="connsiteX6" fmla="*/ 365739 w 5569347"/>
              <a:gd name="connsiteY6" fmla="*/ 2876285 h 2894524"/>
              <a:gd name="connsiteX0" fmla="*/ 1826640 w 5590408"/>
              <a:gd name="connsiteY0" fmla="*/ 949194 h 2893201"/>
              <a:gd name="connsiteX1" fmla="*/ 4006313 w 5590408"/>
              <a:gd name="connsiteY1" fmla="*/ 12937 h 2893201"/>
              <a:gd name="connsiteX2" fmla="*/ 5322055 w 5590408"/>
              <a:gd name="connsiteY2" fmla="*/ 1667524 h 2893201"/>
              <a:gd name="connsiteX3" fmla="*/ 2286629 w 5590408"/>
              <a:gd name="connsiteY3" fmla="*/ 2751537 h 2893201"/>
              <a:gd name="connsiteX4" fmla="*/ 92439 w 5590408"/>
              <a:gd name="connsiteY4" fmla="*/ 2819918 h 2893201"/>
              <a:gd name="connsiteX5" fmla="*/ 386800 w 5590408"/>
              <a:gd name="connsiteY5" fmla="*/ 2876285 h 2893201"/>
              <a:gd name="connsiteX0" fmla="*/ 1886051 w 5649819"/>
              <a:gd name="connsiteY0" fmla="*/ 949194 h 2893201"/>
              <a:gd name="connsiteX1" fmla="*/ 4065724 w 5649819"/>
              <a:gd name="connsiteY1" fmla="*/ 12937 h 2893201"/>
              <a:gd name="connsiteX2" fmla="*/ 5381466 w 5649819"/>
              <a:gd name="connsiteY2" fmla="*/ 1667524 h 2893201"/>
              <a:gd name="connsiteX3" fmla="*/ 2346040 w 5649819"/>
              <a:gd name="connsiteY3" fmla="*/ 2751537 h 2893201"/>
              <a:gd name="connsiteX4" fmla="*/ 181802 w 5649819"/>
              <a:gd name="connsiteY4" fmla="*/ 2817369 h 2893201"/>
              <a:gd name="connsiteX5" fmla="*/ 151850 w 5649819"/>
              <a:gd name="connsiteY5" fmla="*/ 2819918 h 2893201"/>
              <a:gd name="connsiteX6" fmla="*/ 446211 w 5649819"/>
              <a:gd name="connsiteY6" fmla="*/ 2876285 h 2893201"/>
              <a:gd name="connsiteX0" fmla="*/ 1886052 w 5649820"/>
              <a:gd name="connsiteY0" fmla="*/ 949194 h 2854351"/>
              <a:gd name="connsiteX1" fmla="*/ 4065725 w 5649820"/>
              <a:gd name="connsiteY1" fmla="*/ 12937 h 2854351"/>
              <a:gd name="connsiteX2" fmla="*/ 5381467 w 5649820"/>
              <a:gd name="connsiteY2" fmla="*/ 1667524 h 2854351"/>
              <a:gd name="connsiteX3" fmla="*/ 2346041 w 5649820"/>
              <a:gd name="connsiteY3" fmla="*/ 2751537 h 2854351"/>
              <a:gd name="connsiteX4" fmla="*/ 181803 w 5649820"/>
              <a:gd name="connsiteY4" fmla="*/ 2817369 h 2854351"/>
              <a:gd name="connsiteX5" fmla="*/ 151851 w 5649820"/>
              <a:gd name="connsiteY5" fmla="*/ 2819918 h 2854351"/>
              <a:gd name="connsiteX0" fmla="*/ 1704249 w 5468017"/>
              <a:gd name="connsiteY0" fmla="*/ 949194 h 2854352"/>
              <a:gd name="connsiteX1" fmla="*/ 3883922 w 5468017"/>
              <a:gd name="connsiteY1" fmla="*/ 12937 h 2854352"/>
              <a:gd name="connsiteX2" fmla="*/ 5199664 w 5468017"/>
              <a:gd name="connsiteY2" fmla="*/ 1667524 h 2854352"/>
              <a:gd name="connsiteX3" fmla="*/ 2164238 w 5468017"/>
              <a:gd name="connsiteY3" fmla="*/ 2751537 h 2854352"/>
              <a:gd name="connsiteX4" fmla="*/ 0 w 5468017"/>
              <a:gd name="connsiteY4" fmla="*/ 2817369 h 2854352"/>
              <a:gd name="connsiteX0" fmla="*/ 0 w 3763768"/>
              <a:gd name="connsiteY0" fmla="*/ 949194 h 2751537"/>
              <a:gd name="connsiteX1" fmla="*/ 2179673 w 3763768"/>
              <a:gd name="connsiteY1" fmla="*/ 12937 h 2751537"/>
              <a:gd name="connsiteX2" fmla="*/ 3495415 w 3763768"/>
              <a:gd name="connsiteY2" fmla="*/ 1667524 h 2751537"/>
              <a:gd name="connsiteX3" fmla="*/ 459989 w 3763768"/>
              <a:gd name="connsiteY3" fmla="*/ 2751537 h 2751537"/>
              <a:gd name="connsiteX0" fmla="*/ 0 w 3763768"/>
              <a:gd name="connsiteY0" fmla="*/ 949194 h 1667524"/>
              <a:gd name="connsiteX1" fmla="*/ 2179673 w 3763768"/>
              <a:gd name="connsiteY1" fmla="*/ 12937 h 1667524"/>
              <a:gd name="connsiteX2" fmla="*/ 3495415 w 3763768"/>
              <a:gd name="connsiteY2" fmla="*/ 1667524 h 1667524"/>
              <a:gd name="connsiteX0" fmla="*/ 0 w 3495415"/>
              <a:gd name="connsiteY0" fmla="*/ 1046589 h 1764919"/>
              <a:gd name="connsiteX1" fmla="*/ 2179673 w 3495415"/>
              <a:gd name="connsiteY1" fmla="*/ 110332 h 1764919"/>
              <a:gd name="connsiteX2" fmla="*/ 3156703 w 3495415"/>
              <a:gd name="connsiteY2" fmla="*/ 203081 h 1764919"/>
              <a:gd name="connsiteX3" fmla="*/ 3495415 w 3495415"/>
              <a:gd name="connsiteY3" fmla="*/ 1764919 h 1764919"/>
              <a:gd name="connsiteX0" fmla="*/ 0 w 3495415"/>
              <a:gd name="connsiteY0" fmla="*/ 855835 h 1574165"/>
              <a:gd name="connsiteX1" fmla="*/ 3156703 w 3495415"/>
              <a:gd name="connsiteY1" fmla="*/ 12327 h 1574165"/>
              <a:gd name="connsiteX2" fmla="*/ 3495415 w 3495415"/>
              <a:gd name="connsiteY2" fmla="*/ 1574165 h 1574165"/>
              <a:gd name="connsiteX0" fmla="*/ -1 w 338711"/>
              <a:gd name="connsiteY0" fmla="*/ 0 h 1561838"/>
              <a:gd name="connsiteX1" fmla="*/ 338711 w 338711"/>
              <a:gd name="connsiteY1" fmla="*/ 1561838 h 1561838"/>
              <a:gd name="connsiteX0" fmla="*/ -1 w 546970"/>
              <a:gd name="connsiteY0" fmla="*/ 0 h 1561838"/>
              <a:gd name="connsiteX1" fmla="*/ 338711 w 546970"/>
              <a:gd name="connsiteY1" fmla="*/ 1561838 h 1561838"/>
              <a:gd name="connsiteX0" fmla="*/ -1 w 620599"/>
              <a:gd name="connsiteY0" fmla="*/ 0 h 1561838"/>
              <a:gd name="connsiteX1" fmla="*/ 338711 w 620599"/>
              <a:gd name="connsiteY1" fmla="*/ 1561838 h 1561838"/>
              <a:gd name="connsiteX0" fmla="*/ -1 w 586256"/>
              <a:gd name="connsiteY0" fmla="*/ 0 h 1528016"/>
              <a:gd name="connsiteX1" fmla="*/ 257948 w 586256"/>
              <a:gd name="connsiteY1" fmla="*/ 1528016 h 1528016"/>
              <a:gd name="connsiteX0" fmla="*/ -1 w 526885"/>
              <a:gd name="connsiteY0" fmla="*/ 0 h 1528016"/>
              <a:gd name="connsiteX1" fmla="*/ 257948 w 526885"/>
              <a:gd name="connsiteY1" fmla="*/ 1528016 h 1528016"/>
              <a:gd name="connsiteX0" fmla="*/ 860112 w 1127111"/>
              <a:gd name="connsiteY0" fmla="*/ 0 h 2187743"/>
              <a:gd name="connsiteX1" fmla="*/ 0 w 1127111"/>
              <a:gd name="connsiteY1" fmla="*/ 2187743 h 2187743"/>
              <a:gd name="connsiteX0" fmla="*/ 860112 w 1318238"/>
              <a:gd name="connsiteY0" fmla="*/ 0 h 2187743"/>
              <a:gd name="connsiteX1" fmla="*/ 0 w 1318238"/>
              <a:gd name="connsiteY1" fmla="*/ 2187743 h 2187743"/>
              <a:gd name="connsiteX0" fmla="*/ 860112 w 1331757"/>
              <a:gd name="connsiteY0" fmla="*/ 0 h 2187743"/>
              <a:gd name="connsiteX1" fmla="*/ 0 w 1331757"/>
              <a:gd name="connsiteY1" fmla="*/ 2187743 h 2187743"/>
            </a:gdLst>
            <a:ahLst/>
            <a:cxnLst>
              <a:cxn ang="0">
                <a:pos x="connsiteX0" y="connsiteY0"/>
              </a:cxn>
              <a:cxn ang="0">
                <a:pos x="connsiteX1" y="connsiteY1"/>
              </a:cxn>
            </a:cxnLst>
            <a:rect l="l" t="t" r="r" b="b"/>
            <a:pathLst>
              <a:path w="1331757" h="2187743">
                <a:moveTo>
                  <a:pt x="860112" y="0"/>
                </a:moveTo>
                <a:cubicBezTo>
                  <a:pt x="1742309" y="412894"/>
                  <a:pt x="1348407" y="1680846"/>
                  <a:pt x="0" y="2187743"/>
                </a:cubicBezTo>
              </a:path>
            </a:pathLst>
          </a:cu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p:nvSpPr>
        <p:spPr>
          <a:xfrm rot="20983708">
            <a:off x="5639214" y="2653833"/>
            <a:ext cx="576860" cy="1239170"/>
          </a:xfrm>
          <a:custGeom>
            <a:avLst/>
            <a:gdLst>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2992 w 7780257"/>
              <a:gd name="connsiteY37" fmla="*/ 2855934 h 3757808"/>
              <a:gd name="connsiteX38" fmla="*/ 2649255 w 7780257"/>
              <a:gd name="connsiteY38" fmla="*/ 2968668 h 3757808"/>
              <a:gd name="connsiteX39" fmla="*/ 2743200 w 7780257"/>
              <a:gd name="connsiteY39" fmla="*/ 2931090 h 3757808"/>
              <a:gd name="connsiteX40" fmla="*/ 2686833 w 7780257"/>
              <a:gd name="connsiteY40" fmla="*/ 2824619 h 3757808"/>
              <a:gd name="connsiteX41" fmla="*/ 2636729 w 7780257"/>
              <a:gd name="connsiteY41" fmla="*/ 2812093 h 3757808"/>
              <a:gd name="connsiteX42" fmla="*/ 2542784 w 7780257"/>
              <a:gd name="connsiteY42" fmla="*/ 2855934 h 3757808"/>
              <a:gd name="connsiteX43" fmla="*/ 2730674 w 7780257"/>
              <a:gd name="connsiteY43" fmla="*/ 2874723 h 3757808"/>
              <a:gd name="connsiteX44" fmla="*/ 2780778 w 7780257"/>
              <a:gd name="connsiteY44" fmla="*/ 2887249 h 3757808"/>
              <a:gd name="connsiteX45" fmla="*/ 2874723 w 7780257"/>
              <a:gd name="connsiteY45" fmla="*/ 2937353 h 3757808"/>
              <a:gd name="connsiteX46" fmla="*/ 2931090 w 7780257"/>
              <a:gd name="connsiteY46" fmla="*/ 3018772 h 3757808"/>
              <a:gd name="connsiteX47" fmla="*/ 2931090 w 7780257"/>
              <a:gd name="connsiteY47"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86833 w 7780257"/>
              <a:gd name="connsiteY39" fmla="*/ 2824619 h 3757808"/>
              <a:gd name="connsiteX40" fmla="*/ 2636729 w 7780257"/>
              <a:gd name="connsiteY40" fmla="*/ 2812093 h 3757808"/>
              <a:gd name="connsiteX41" fmla="*/ 2542784 w 7780257"/>
              <a:gd name="connsiteY41" fmla="*/ 2855934 h 3757808"/>
              <a:gd name="connsiteX42" fmla="*/ 2730674 w 7780257"/>
              <a:gd name="connsiteY42" fmla="*/ 2874723 h 3757808"/>
              <a:gd name="connsiteX43" fmla="*/ 2780778 w 7780257"/>
              <a:gd name="connsiteY43" fmla="*/ 2887249 h 3757808"/>
              <a:gd name="connsiteX44" fmla="*/ 2874723 w 7780257"/>
              <a:gd name="connsiteY44" fmla="*/ 2937353 h 3757808"/>
              <a:gd name="connsiteX45" fmla="*/ 2931090 w 7780257"/>
              <a:gd name="connsiteY45" fmla="*/ 3018772 h 3757808"/>
              <a:gd name="connsiteX46" fmla="*/ 2931090 w 7780257"/>
              <a:gd name="connsiteY46"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36729 w 7780257"/>
              <a:gd name="connsiteY39" fmla="*/ 2812093 h 3757808"/>
              <a:gd name="connsiteX40" fmla="*/ 2542784 w 7780257"/>
              <a:gd name="connsiteY40" fmla="*/ 2855934 h 3757808"/>
              <a:gd name="connsiteX41" fmla="*/ 2730674 w 7780257"/>
              <a:gd name="connsiteY41" fmla="*/ 2874723 h 3757808"/>
              <a:gd name="connsiteX42" fmla="*/ 2780778 w 7780257"/>
              <a:gd name="connsiteY42" fmla="*/ 2887249 h 3757808"/>
              <a:gd name="connsiteX43" fmla="*/ 2874723 w 7780257"/>
              <a:gd name="connsiteY43" fmla="*/ 2937353 h 3757808"/>
              <a:gd name="connsiteX44" fmla="*/ 2931090 w 7780257"/>
              <a:gd name="connsiteY44" fmla="*/ 3018772 h 3757808"/>
              <a:gd name="connsiteX45" fmla="*/ 2931090 w 7780257"/>
              <a:gd name="connsiteY45"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743200 w 7780257"/>
              <a:gd name="connsiteY37" fmla="*/ 2931090 h 3757808"/>
              <a:gd name="connsiteX38" fmla="*/ 2636729 w 7780257"/>
              <a:gd name="connsiteY38" fmla="*/ 2812093 h 3757808"/>
              <a:gd name="connsiteX39" fmla="*/ 2542784 w 7780257"/>
              <a:gd name="connsiteY39" fmla="*/ 2855934 h 3757808"/>
              <a:gd name="connsiteX40" fmla="*/ 2730674 w 7780257"/>
              <a:gd name="connsiteY40" fmla="*/ 2874723 h 3757808"/>
              <a:gd name="connsiteX41" fmla="*/ 2780778 w 7780257"/>
              <a:gd name="connsiteY41" fmla="*/ 2887249 h 3757808"/>
              <a:gd name="connsiteX42" fmla="*/ 2874723 w 7780257"/>
              <a:gd name="connsiteY42" fmla="*/ 2937353 h 3757808"/>
              <a:gd name="connsiteX43" fmla="*/ 2931090 w 7780257"/>
              <a:gd name="connsiteY43" fmla="*/ 3018772 h 3757808"/>
              <a:gd name="connsiteX44" fmla="*/ 2931090 w 7780257"/>
              <a:gd name="connsiteY44"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36729 w 7780257"/>
              <a:gd name="connsiteY37" fmla="*/ 2812093 h 3757808"/>
              <a:gd name="connsiteX38" fmla="*/ 2542784 w 7780257"/>
              <a:gd name="connsiteY38" fmla="*/ 2855934 h 3757808"/>
              <a:gd name="connsiteX39" fmla="*/ 2730674 w 7780257"/>
              <a:gd name="connsiteY39" fmla="*/ 2874723 h 3757808"/>
              <a:gd name="connsiteX40" fmla="*/ 2780778 w 7780257"/>
              <a:gd name="connsiteY40" fmla="*/ 2887249 h 3757808"/>
              <a:gd name="connsiteX41" fmla="*/ 2874723 w 7780257"/>
              <a:gd name="connsiteY41" fmla="*/ 2937353 h 3757808"/>
              <a:gd name="connsiteX42" fmla="*/ 2931090 w 7780257"/>
              <a:gd name="connsiteY42" fmla="*/ 3018772 h 3757808"/>
              <a:gd name="connsiteX43" fmla="*/ 2931090 w 7780257"/>
              <a:gd name="connsiteY43"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542784 w 7780257"/>
              <a:gd name="connsiteY37" fmla="*/ 2855934 h 3757808"/>
              <a:gd name="connsiteX38" fmla="*/ 2730674 w 7780257"/>
              <a:gd name="connsiteY38" fmla="*/ 2874723 h 3757808"/>
              <a:gd name="connsiteX39" fmla="*/ 2780778 w 7780257"/>
              <a:gd name="connsiteY39" fmla="*/ 2887249 h 3757808"/>
              <a:gd name="connsiteX40" fmla="*/ 2874723 w 7780257"/>
              <a:gd name="connsiteY40" fmla="*/ 2937353 h 3757808"/>
              <a:gd name="connsiteX41" fmla="*/ 2931090 w 7780257"/>
              <a:gd name="connsiteY41" fmla="*/ 3018772 h 3757808"/>
              <a:gd name="connsiteX42" fmla="*/ 2931090 w 7780257"/>
              <a:gd name="connsiteY42"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492679 w 7780257"/>
              <a:gd name="connsiteY36" fmla="*/ 287472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730674 w 7780257"/>
              <a:gd name="connsiteY36" fmla="*/ 287472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937353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05205 w 7780257"/>
              <a:gd name="connsiteY35" fmla="*/ 2799567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931090 w 7780257"/>
              <a:gd name="connsiteY38"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517732 w 7780257"/>
              <a:gd name="connsiteY38"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517732 w 7780257"/>
              <a:gd name="connsiteY37"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2935373 w 10715630"/>
              <a:gd name="connsiteY0" fmla="*/ 3757808 h 3799348"/>
              <a:gd name="connsiteX1" fmla="*/ 0 w 10715630"/>
              <a:gd name="connsiteY1" fmla="*/ 3799348 h 3799348"/>
              <a:gd name="connsiteX2" fmla="*/ 3968770 w 10715630"/>
              <a:gd name="connsiteY2" fmla="*/ 3739019 h 3799348"/>
              <a:gd name="connsiteX3" fmla="*/ 4162924 w 10715630"/>
              <a:gd name="connsiteY3" fmla="*/ 3720230 h 3799348"/>
              <a:gd name="connsiteX4" fmla="*/ 4344551 w 10715630"/>
              <a:gd name="connsiteY4" fmla="*/ 3682652 h 3799348"/>
              <a:gd name="connsiteX5" fmla="*/ 4876907 w 10715630"/>
              <a:gd name="connsiteY5" fmla="*/ 3482235 h 3799348"/>
              <a:gd name="connsiteX6" fmla="*/ 5321581 w 10715630"/>
              <a:gd name="connsiteY6" fmla="*/ 3156559 h 3799348"/>
              <a:gd name="connsiteX7" fmla="*/ 5634732 w 10715630"/>
              <a:gd name="connsiteY7" fmla="*/ 2774515 h 3799348"/>
              <a:gd name="connsiteX8" fmla="*/ 5716151 w 10715630"/>
              <a:gd name="connsiteY8" fmla="*/ 2617939 h 3799348"/>
              <a:gd name="connsiteX9" fmla="*/ 5866463 w 10715630"/>
              <a:gd name="connsiteY9" fmla="*/ 2254685 h 3799348"/>
              <a:gd name="connsiteX10" fmla="*/ 5997987 w 10715630"/>
              <a:gd name="connsiteY10" fmla="*/ 1803748 h 3799348"/>
              <a:gd name="connsiteX11" fmla="*/ 6411346 w 10715630"/>
              <a:gd name="connsiteY11" fmla="*/ 1108553 h 3799348"/>
              <a:gd name="connsiteX12" fmla="*/ 6693181 w 10715630"/>
              <a:gd name="connsiteY12" fmla="*/ 770350 h 3799348"/>
              <a:gd name="connsiteX13" fmla="*/ 6843494 w 10715630"/>
              <a:gd name="connsiteY13" fmla="*/ 632564 h 3799348"/>
              <a:gd name="connsiteX14" fmla="*/ 7306957 w 10715630"/>
              <a:gd name="connsiteY14" fmla="*/ 319413 h 3799348"/>
              <a:gd name="connsiteX15" fmla="*/ 7826787 w 10715630"/>
              <a:gd name="connsiteY15" fmla="*/ 112734 h 3799348"/>
              <a:gd name="connsiteX16" fmla="*/ 8071044 w 10715630"/>
              <a:gd name="connsiteY16" fmla="*/ 43841 h 3799348"/>
              <a:gd name="connsiteX17" fmla="*/ 8534507 w 10715630"/>
              <a:gd name="connsiteY17" fmla="*/ 0 h 3799348"/>
              <a:gd name="connsiteX18" fmla="*/ 9142020 w 10715630"/>
              <a:gd name="connsiteY18" fmla="*/ 31315 h 3799348"/>
              <a:gd name="connsiteX19" fmla="*/ 9386277 w 10715630"/>
              <a:gd name="connsiteY19" fmla="*/ 93945 h 3799348"/>
              <a:gd name="connsiteX20" fmla="*/ 9592957 w 10715630"/>
              <a:gd name="connsiteY20" fmla="*/ 169101 h 3799348"/>
              <a:gd name="connsiteX21" fmla="*/ 9981263 w 10715630"/>
              <a:gd name="connsiteY21" fmla="*/ 375781 h 3799348"/>
              <a:gd name="connsiteX22" fmla="*/ 10425937 w 10715630"/>
              <a:gd name="connsiteY22" fmla="*/ 751561 h 3799348"/>
              <a:gd name="connsiteX23" fmla="*/ 10670195 w 10715630"/>
              <a:gd name="connsiteY23" fmla="*/ 1240076 h 3799348"/>
              <a:gd name="connsiteX24" fmla="*/ 10714036 w 10715630"/>
              <a:gd name="connsiteY24" fmla="*/ 1791222 h 3799348"/>
              <a:gd name="connsiteX25" fmla="*/ 10707773 w 10715630"/>
              <a:gd name="connsiteY25" fmla="*/ 2035479 h 3799348"/>
              <a:gd name="connsiteX26" fmla="*/ 10632617 w 10715630"/>
              <a:gd name="connsiteY26" fmla="*/ 2311052 h 3799348"/>
              <a:gd name="connsiteX27" fmla="*/ 10432200 w 10715630"/>
              <a:gd name="connsiteY27" fmla="*/ 2680570 h 3799348"/>
              <a:gd name="connsiteX28" fmla="*/ 10269362 w 10715630"/>
              <a:gd name="connsiteY28" fmla="*/ 2843408 h 3799348"/>
              <a:gd name="connsiteX29" fmla="*/ 10012578 w 10715630"/>
              <a:gd name="connsiteY29" fmla="*/ 2987457 h 3799348"/>
              <a:gd name="connsiteX30" fmla="*/ 9430118 w 10715630"/>
              <a:gd name="connsiteY30" fmla="*/ 3118981 h 3799348"/>
              <a:gd name="connsiteX31" fmla="*/ 8496929 w 10715630"/>
              <a:gd name="connsiteY31" fmla="*/ 3106455 h 3799348"/>
              <a:gd name="connsiteX32" fmla="*/ 7632633 w 10715630"/>
              <a:gd name="connsiteY32" fmla="*/ 3043824 h 3799348"/>
              <a:gd name="connsiteX33" fmla="*/ 7106540 w 10715630"/>
              <a:gd name="connsiteY33" fmla="*/ 2974931 h 3799348"/>
              <a:gd name="connsiteX34" fmla="*/ 5634732 w 10715630"/>
              <a:gd name="connsiteY34" fmla="*/ 2812093 h 3799348"/>
              <a:gd name="connsiteX35" fmla="*/ 5484420 w 10715630"/>
              <a:gd name="connsiteY35" fmla="*/ 2943616 h 3799348"/>
              <a:gd name="connsiteX36" fmla="*/ 5778781 w 10715630"/>
              <a:gd name="connsiteY36" fmla="*/ 2999983 h 3799348"/>
              <a:gd name="connsiteX37" fmla="*/ 5246425 w 10715630"/>
              <a:gd name="connsiteY37"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344551 w 10715630"/>
              <a:gd name="connsiteY3" fmla="*/ 3682652 h 3799348"/>
              <a:gd name="connsiteX4" fmla="*/ 4876907 w 10715630"/>
              <a:gd name="connsiteY4" fmla="*/ 3482235 h 3799348"/>
              <a:gd name="connsiteX5" fmla="*/ 5321581 w 10715630"/>
              <a:gd name="connsiteY5" fmla="*/ 3156559 h 3799348"/>
              <a:gd name="connsiteX6" fmla="*/ 5634732 w 10715630"/>
              <a:gd name="connsiteY6" fmla="*/ 2774515 h 3799348"/>
              <a:gd name="connsiteX7" fmla="*/ 5716151 w 10715630"/>
              <a:gd name="connsiteY7" fmla="*/ 2617939 h 3799348"/>
              <a:gd name="connsiteX8" fmla="*/ 5866463 w 10715630"/>
              <a:gd name="connsiteY8" fmla="*/ 2254685 h 3799348"/>
              <a:gd name="connsiteX9" fmla="*/ 5997987 w 10715630"/>
              <a:gd name="connsiteY9" fmla="*/ 1803748 h 3799348"/>
              <a:gd name="connsiteX10" fmla="*/ 6411346 w 10715630"/>
              <a:gd name="connsiteY10" fmla="*/ 1108553 h 3799348"/>
              <a:gd name="connsiteX11" fmla="*/ 6693181 w 10715630"/>
              <a:gd name="connsiteY11" fmla="*/ 770350 h 3799348"/>
              <a:gd name="connsiteX12" fmla="*/ 6843494 w 10715630"/>
              <a:gd name="connsiteY12" fmla="*/ 632564 h 3799348"/>
              <a:gd name="connsiteX13" fmla="*/ 7306957 w 10715630"/>
              <a:gd name="connsiteY13" fmla="*/ 319413 h 3799348"/>
              <a:gd name="connsiteX14" fmla="*/ 7826787 w 10715630"/>
              <a:gd name="connsiteY14" fmla="*/ 112734 h 3799348"/>
              <a:gd name="connsiteX15" fmla="*/ 8071044 w 10715630"/>
              <a:gd name="connsiteY15" fmla="*/ 43841 h 3799348"/>
              <a:gd name="connsiteX16" fmla="*/ 8534507 w 10715630"/>
              <a:gd name="connsiteY16" fmla="*/ 0 h 3799348"/>
              <a:gd name="connsiteX17" fmla="*/ 9142020 w 10715630"/>
              <a:gd name="connsiteY17" fmla="*/ 31315 h 3799348"/>
              <a:gd name="connsiteX18" fmla="*/ 9386277 w 10715630"/>
              <a:gd name="connsiteY18" fmla="*/ 93945 h 3799348"/>
              <a:gd name="connsiteX19" fmla="*/ 9592957 w 10715630"/>
              <a:gd name="connsiteY19" fmla="*/ 169101 h 3799348"/>
              <a:gd name="connsiteX20" fmla="*/ 9981263 w 10715630"/>
              <a:gd name="connsiteY20" fmla="*/ 375781 h 3799348"/>
              <a:gd name="connsiteX21" fmla="*/ 10425937 w 10715630"/>
              <a:gd name="connsiteY21" fmla="*/ 751561 h 3799348"/>
              <a:gd name="connsiteX22" fmla="*/ 10670195 w 10715630"/>
              <a:gd name="connsiteY22" fmla="*/ 1240076 h 3799348"/>
              <a:gd name="connsiteX23" fmla="*/ 10714036 w 10715630"/>
              <a:gd name="connsiteY23" fmla="*/ 1791222 h 3799348"/>
              <a:gd name="connsiteX24" fmla="*/ 10707773 w 10715630"/>
              <a:gd name="connsiteY24" fmla="*/ 2035479 h 3799348"/>
              <a:gd name="connsiteX25" fmla="*/ 10632617 w 10715630"/>
              <a:gd name="connsiteY25" fmla="*/ 2311052 h 3799348"/>
              <a:gd name="connsiteX26" fmla="*/ 10432200 w 10715630"/>
              <a:gd name="connsiteY26" fmla="*/ 2680570 h 3799348"/>
              <a:gd name="connsiteX27" fmla="*/ 10269362 w 10715630"/>
              <a:gd name="connsiteY27" fmla="*/ 2843408 h 3799348"/>
              <a:gd name="connsiteX28" fmla="*/ 10012578 w 10715630"/>
              <a:gd name="connsiteY28" fmla="*/ 2987457 h 3799348"/>
              <a:gd name="connsiteX29" fmla="*/ 9430118 w 10715630"/>
              <a:gd name="connsiteY29" fmla="*/ 3118981 h 3799348"/>
              <a:gd name="connsiteX30" fmla="*/ 8496929 w 10715630"/>
              <a:gd name="connsiteY30" fmla="*/ 3106455 h 3799348"/>
              <a:gd name="connsiteX31" fmla="*/ 7632633 w 10715630"/>
              <a:gd name="connsiteY31" fmla="*/ 3043824 h 3799348"/>
              <a:gd name="connsiteX32" fmla="*/ 7106540 w 10715630"/>
              <a:gd name="connsiteY32" fmla="*/ 2974931 h 3799348"/>
              <a:gd name="connsiteX33" fmla="*/ 5634732 w 10715630"/>
              <a:gd name="connsiteY33" fmla="*/ 2812093 h 3799348"/>
              <a:gd name="connsiteX34" fmla="*/ 5484420 w 10715630"/>
              <a:gd name="connsiteY34" fmla="*/ 2943616 h 3799348"/>
              <a:gd name="connsiteX35" fmla="*/ 5778781 w 10715630"/>
              <a:gd name="connsiteY35" fmla="*/ 2999983 h 3799348"/>
              <a:gd name="connsiteX36" fmla="*/ 5246425 w 10715630"/>
              <a:gd name="connsiteY36"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876907 w 10715630"/>
              <a:gd name="connsiteY3" fmla="*/ 3482235 h 3799348"/>
              <a:gd name="connsiteX4" fmla="*/ 5321581 w 10715630"/>
              <a:gd name="connsiteY4" fmla="*/ 3156559 h 3799348"/>
              <a:gd name="connsiteX5" fmla="*/ 5634732 w 10715630"/>
              <a:gd name="connsiteY5" fmla="*/ 2774515 h 3799348"/>
              <a:gd name="connsiteX6" fmla="*/ 5716151 w 10715630"/>
              <a:gd name="connsiteY6" fmla="*/ 2617939 h 3799348"/>
              <a:gd name="connsiteX7" fmla="*/ 5866463 w 10715630"/>
              <a:gd name="connsiteY7" fmla="*/ 2254685 h 3799348"/>
              <a:gd name="connsiteX8" fmla="*/ 5997987 w 10715630"/>
              <a:gd name="connsiteY8" fmla="*/ 1803748 h 3799348"/>
              <a:gd name="connsiteX9" fmla="*/ 6411346 w 10715630"/>
              <a:gd name="connsiteY9" fmla="*/ 1108553 h 3799348"/>
              <a:gd name="connsiteX10" fmla="*/ 6693181 w 10715630"/>
              <a:gd name="connsiteY10" fmla="*/ 770350 h 3799348"/>
              <a:gd name="connsiteX11" fmla="*/ 6843494 w 10715630"/>
              <a:gd name="connsiteY11" fmla="*/ 632564 h 3799348"/>
              <a:gd name="connsiteX12" fmla="*/ 7306957 w 10715630"/>
              <a:gd name="connsiteY12" fmla="*/ 319413 h 3799348"/>
              <a:gd name="connsiteX13" fmla="*/ 7826787 w 10715630"/>
              <a:gd name="connsiteY13" fmla="*/ 112734 h 3799348"/>
              <a:gd name="connsiteX14" fmla="*/ 8071044 w 10715630"/>
              <a:gd name="connsiteY14" fmla="*/ 43841 h 3799348"/>
              <a:gd name="connsiteX15" fmla="*/ 8534507 w 10715630"/>
              <a:gd name="connsiteY15" fmla="*/ 0 h 3799348"/>
              <a:gd name="connsiteX16" fmla="*/ 9142020 w 10715630"/>
              <a:gd name="connsiteY16" fmla="*/ 31315 h 3799348"/>
              <a:gd name="connsiteX17" fmla="*/ 9386277 w 10715630"/>
              <a:gd name="connsiteY17" fmla="*/ 93945 h 3799348"/>
              <a:gd name="connsiteX18" fmla="*/ 9592957 w 10715630"/>
              <a:gd name="connsiteY18" fmla="*/ 169101 h 3799348"/>
              <a:gd name="connsiteX19" fmla="*/ 9981263 w 10715630"/>
              <a:gd name="connsiteY19" fmla="*/ 375781 h 3799348"/>
              <a:gd name="connsiteX20" fmla="*/ 10425937 w 10715630"/>
              <a:gd name="connsiteY20" fmla="*/ 751561 h 3799348"/>
              <a:gd name="connsiteX21" fmla="*/ 10670195 w 10715630"/>
              <a:gd name="connsiteY21" fmla="*/ 1240076 h 3799348"/>
              <a:gd name="connsiteX22" fmla="*/ 10714036 w 10715630"/>
              <a:gd name="connsiteY22" fmla="*/ 1791222 h 3799348"/>
              <a:gd name="connsiteX23" fmla="*/ 10707773 w 10715630"/>
              <a:gd name="connsiteY23" fmla="*/ 2035479 h 3799348"/>
              <a:gd name="connsiteX24" fmla="*/ 10632617 w 10715630"/>
              <a:gd name="connsiteY24" fmla="*/ 2311052 h 3799348"/>
              <a:gd name="connsiteX25" fmla="*/ 10432200 w 10715630"/>
              <a:gd name="connsiteY25" fmla="*/ 2680570 h 3799348"/>
              <a:gd name="connsiteX26" fmla="*/ 10269362 w 10715630"/>
              <a:gd name="connsiteY26" fmla="*/ 2843408 h 3799348"/>
              <a:gd name="connsiteX27" fmla="*/ 10012578 w 10715630"/>
              <a:gd name="connsiteY27" fmla="*/ 2987457 h 3799348"/>
              <a:gd name="connsiteX28" fmla="*/ 9430118 w 10715630"/>
              <a:gd name="connsiteY28" fmla="*/ 3118981 h 3799348"/>
              <a:gd name="connsiteX29" fmla="*/ 8496929 w 10715630"/>
              <a:gd name="connsiteY29" fmla="*/ 3106455 h 3799348"/>
              <a:gd name="connsiteX30" fmla="*/ 7632633 w 10715630"/>
              <a:gd name="connsiteY30" fmla="*/ 3043824 h 3799348"/>
              <a:gd name="connsiteX31" fmla="*/ 7106540 w 10715630"/>
              <a:gd name="connsiteY31" fmla="*/ 2974931 h 3799348"/>
              <a:gd name="connsiteX32" fmla="*/ 5634732 w 10715630"/>
              <a:gd name="connsiteY32" fmla="*/ 2812093 h 3799348"/>
              <a:gd name="connsiteX33" fmla="*/ 5484420 w 10715630"/>
              <a:gd name="connsiteY33" fmla="*/ 2943616 h 3799348"/>
              <a:gd name="connsiteX34" fmla="*/ 5778781 w 10715630"/>
              <a:gd name="connsiteY34" fmla="*/ 2999983 h 3799348"/>
              <a:gd name="connsiteX35" fmla="*/ 5246425 w 10715630"/>
              <a:gd name="connsiteY35"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5321581 w 10715630"/>
              <a:gd name="connsiteY3" fmla="*/ 3156559 h 3799348"/>
              <a:gd name="connsiteX4" fmla="*/ 5634732 w 10715630"/>
              <a:gd name="connsiteY4" fmla="*/ 2774515 h 3799348"/>
              <a:gd name="connsiteX5" fmla="*/ 5716151 w 10715630"/>
              <a:gd name="connsiteY5" fmla="*/ 2617939 h 3799348"/>
              <a:gd name="connsiteX6" fmla="*/ 5866463 w 10715630"/>
              <a:gd name="connsiteY6" fmla="*/ 2254685 h 3799348"/>
              <a:gd name="connsiteX7" fmla="*/ 5997987 w 10715630"/>
              <a:gd name="connsiteY7" fmla="*/ 1803748 h 3799348"/>
              <a:gd name="connsiteX8" fmla="*/ 6411346 w 10715630"/>
              <a:gd name="connsiteY8" fmla="*/ 1108553 h 3799348"/>
              <a:gd name="connsiteX9" fmla="*/ 6693181 w 10715630"/>
              <a:gd name="connsiteY9" fmla="*/ 770350 h 3799348"/>
              <a:gd name="connsiteX10" fmla="*/ 6843494 w 10715630"/>
              <a:gd name="connsiteY10" fmla="*/ 632564 h 3799348"/>
              <a:gd name="connsiteX11" fmla="*/ 7306957 w 10715630"/>
              <a:gd name="connsiteY11" fmla="*/ 319413 h 3799348"/>
              <a:gd name="connsiteX12" fmla="*/ 7826787 w 10715630"/>
              <a:gd name="connsiteY12" fmla="*/ 112734 h 3799348"/>
              <a:gd name="connsiteX13" fmla="*/ 8071044 w 10715630"/>
              <a:gd name="connsiteY13" fmla="*/ 43841 h 3799348"/>
              <a:gd name="connsiteX14" fmla="*/ 8534507 w 10715630"/>
              <a:gd name="connsiteY14" fmla="*/ 0 h 3799348"/>
              <a:gd name="connsiteX15" fmla="*/ 9142020 w 10715630"/>
              <a:gd name="connsiteY15" fmla="*/ 31315 h 3799348"/>
              <a:gd name="connsiteX16" fmla="*/ 9386277 w 10715630"/>
              <a:gd name="connsiteY16" fmla="*/ 93945 h 3799348"/>
              <a:gd name="connsiteX17" fmla="*/ 9592957 w 10715630"/>
              <a:gd name="connsiteY17" fmla="*/ 169101 h 3799348"/>
              <a:gd name="connsiteX18" fmla="*/ 9981263 w 10715630"/>
              <a:gd name="connsiteY18" fmla="*/ 375781 h 3799348"/>
              <a:gd name="connsiteX19" fmla="*/ 10425937 w 10715630"/>
              <a:gd name="connsiteY19" fmla="*/ 751561 h 3799348"/>
              <a:gd name="connsiteX20" fmla="*/ 10670195 w 10715630"/>
              <a:gd name="connsiteY20" fmla="*/ 1240076 h 3799348"/>
              <a:gd name="connsiteX21" fmla="*/ 10714036 w 10715630"/>
              <a:gd name="connsiteY21" fmla="*/ 1791222 h 3799348"/>
              <a:gd name="connsiteX22" fmla="*/ 10707773 w 10715630"/>
              <a:gd name="connsiteY22" fmla="*/ 2035479 h 3799348"/>
              <a:gd name="connsiteX23" fmla="*/ 10632617 w 10715630"/>
              <a:gd name="connsiteY23" fmla="*/ 2311052 h 3799348"/>
              <a:gd name="connsiteX24" fmla="*/ 10432200 w 10715630"/>
              <a:gd name="connsiteY24" fmla="*/ 2680570 h 3799348"/>
              <a:gd name="connsiteX25" fmla="*/ 10269362 w 10715630"/>
              <a:gd name="connsiteY25" fmla="*/ 2843408 h 3799348"/>
              <a:gd name="connsiteX26" fmla="*/ 10012578 w 10715630"/>
              <a:gd name="connsiteY26" fmla="*/ 2987457 h 3799348"/>
              <a:gd name="connsiteX27" fmla="*/ 9430118 w 10715630"/>
              <a:gd name="connsiteY27" fmla="*/ 3118981 h 3799348"/>
              <a:gd name="connsiteX28" fmla="*/ 8496929 w 10715630"/>
              <a:gd name="connsiteY28" fmla="*/ 3106455 h 3799348"/>
              <a:gd name="connsiteX29" fmla="*/ 7632633 w 10715630"/>
              <a:gd name="connsiteY29" fmla="*/ 3043824 h 3799348"/>
              <a:gd name="connsiteX30" fmla="*/ 7106540 w 10715630"/>
              <a:gd name="connsiteY30" fmla="*/ 2974931 h 3799348"/>
              <a:gd name="connsiteX31" fmla="*/ 5634732 w 10715630"/>
              <a:gd name="connsiteY31" fmla="*/ 2812093 h 3799348"/>
              <a:gd name="connsiteX32" fmla="*/ 5484420 w 10715630"/>
              <a:gd name="connsiteY32" fmla="*/ 2943616 h 3799348"/>
              <a:gd name="connsiteX33" fmla="*/ 5778781 w 10715630"/>
              <a:gd name="connsiteY33" fmla="*/ 2999983 h 3799348"/>
              <a:gd name="connsiteX34" fmla="*/ 5246425 w 10715630"/>
              <a:gd name="connsiteY34" fmla="*/ 2711885 h 3799348"/>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716151 w 10715630"/>
              <a:gd name="connsiteY4" fmla="*/ 2617939 h 3828276"/>
              <a:gd name="connsiteX5" fmla="*/ 5866463 w 10715630"/>
              <a:gd name="connsiteY5" fmla="*/ 2254685 h 3828276"/>
              <a:gd name="connsiteX6" fmla="*/ 5997987 w 10715630"/>
              <a:gd name="connsiteY6" fmla="*/ 1803748 h 3828276"/>
              <a:gd name="connsiteX7" fmla="*/ 6411346 w 10715630"/>
              <a:gd name="connsiteY7" fmla="*/ 1108553 h 3828276"/>
              <a:gd name="connsiteX8" fmla="*/ 6693181 w 10715630"/>
              <a:gd name="connsiteY8" fmla="*/ 770350 h 3828276"/>
              <a:gd name="connsiteX9" fmla="*/ 6843494 w 10715630"/>
              <a:gd name="connsiteY9" fmla="*/ 632564 h 3828276"/>
              <a:gd name="connsiteX10" fmla="*/ 7306957 w 10715630"/>
              <a:gd name="connsiteY10" fmla="*/ 319413 h 3828276"/>
              <a:gd name="connsiteX11" fmla="*/ 7826787 w 10715630"/>
              <a:gd name="connsiteY11" fmla="*/ 112734 h 3828276"/>
              <a:gd name="connsiteX12" fmla="*/ 8071044 w 10715630"/>
              <a:gd name="connsiteY12" fmla="*/ 43841 h 3828276"/>
              <a:gd name="connsiteX13" fmla="*/ 8534507 w 10715630"/>
              <a:gd name="connsiteY13" fmla="*/ 0 h 3828276"/>
              <a:gd name="connsiteX14" fmla="*/ 9142020 w 10715630"/>
              <a:gd name="connsiteY14" fmla="*/ 31315 h 3828276"/>
              <a:gd name="connsiteX15" fmla="*/ 9386277 w 10715630"/>
              <a:gd name="connsiteY15" fmla="*/ 93945 h 3828276"/>
              <a:gd name="connsiteX16" fmla="*/ 9592957 w 10715630"/>
              <a:gd name="connsiteY16" fmla="*/ 169101 h 3828276"/>
              <a:gd name="connsiteX17" fmla="*/ 9981263 w 10715630"/>
              <a:gd name="connsiteY17" fmla="*/ 375781 h 3828276"/>
              <a:gd name="connsiteX18" fmla="*/ 10425937 w 10715630"/>
              <a:gd name="connsiteY18" fmla="*/ 751561 h 3828276"/>
              <a:gd name="connsiteX19" fmla="*/ 10670195 w 10715630"/>
              <a:gd name="connsiteY19" fmla="*/ 1240076 h 3828276"/>
              <a:gd name="connsiteX20" fmla="*/ 10714036 w 10715630"/>
              <a:gd name="connsiteY20" fmla="*/ 1791222 h 3828276"/>
              <a:gd name="connsiteX21" fmla="*/ 10707773 w 10715630"/>
              <a:gd name="connsiteY21" fmla="*/ 2035479 h 3828276"/>
              <a:gd name="connsiteX22" fmla="*/ 10632617 w 10715630"/>
              <a:gd name="connsiteY22" fmla="*/ 2311052 h 3828276"/>
              <a:gd name="connsiteX23" fmla="*/ 10432200 w 10715630"/>
              <a:gd name="connsiteY23" fmla="*/ 2680570 h 3828276"/>
              <a:gd name="connsiteX24" fmla="*/ 10269362 w 10715630"/>
              <a:gd name="connsiteY24" fmla="*/ 2843408 h 3828276"/>
              <a:gd name="connsiteX25" fmla="*/ 10012578 w 10715630"/>
              <a:gd name="connsiteY25" fmla="*/ 2987457 h 3828276"/>
              <a:gd name="connsiteX26" fmla="*/ 9430118 w 10715630"/>
              <a:gd name="connsiteY26" fmla="*/ 3118981 h 3828276"/>
              <a:gd name="connsiteX27" fmla="*/ 8496929 w 10715630"/>
              <a:gd name="connsiteY27" fmla="*/ 3106455 h 3828276"/>
              <a:gd name="connsiteX28" fmla="*/ 7632633 w 10715630"/>
              <a:gd name="connsiteY28" fmla="*/ 3043824 h 3828276"/>
              <a:gd name="connsiteX29" fmla="*/ 7106540 w 10715630"/>
              <a:gd name="connsiteY29" fmla="*/ 2974931 h 3828276"/>
              <a:gd name="connsiteX30" fmla="*/ 5634732 w 10715630"/>
              <a:gd name="connsiteY30" fmla="*/ 2812093 h 3828276"/>
              <a:gd name="connsiteX31" fmla="*/ 5484420 w 10715630"/>
              <a:gd name="connsiteY31" fmla="*/ 2943616 h 3828276"/>
              <a:gd name="connsiteX32" fmla="*/ 5778781 w 10715630"/>
              <a:gd name="connsiteY32" fmla="*/ 2999983 h 3828276"/>
              <a:gd name="connsiteX33" fmla="*/ 5246425 w 10715630"/>
              <a:gd name="connsiteY33" fmla="*/ 2711885 h 3828276"/>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866463 w 10715630"/>
              <a:gd name="connsiteY4" fmla="*/ 2254685 h 3828276"/>
              <a:gd name="connsiteX5" fmla="*/ 5997987 w 10715630"/>
              <a:gd name="connsiteY5" fmla="*/ 1803748 h 3828276"/>
              <a:gd name="connsiteX6" fmla="*/ 6411346 w 10715630"/>
              <a:gd name="connsiteY6" fmla="*/ 1108553 h 3828276"/>
              <a:gd name="connsiteX7" fmla="*/ 6693181 w 10715630"/>
              <a:gd name="connsiteY7" fmla="*/ 770350 h 3828276"/>
              <a:gd name="connsiteX8" fmla="*/ 6843494 w 10715630"/>
              <a:gd name="connsiteY8" fmla="*/ 632564 h 3828276"/>
              <a:gd name="connsiteX9" fmla="*/ 7306957 w 10715630"/>
              <a:gd name="connsiteY9" fmla="*/ 319413 h 3828276"/>
              <a:gd name="connsiteX10" fmla="*/ 7826787 w 10715630"/>
              <a:gd name="connsiteY10" fmla="*/ 112734 h 3828276"/>
              <a:gd name="connsiteX11" fmla="*/ 8071044 w 10715630"/>
              <a:gd name="connsiteY11" fmla="*/ 43841 h 3828276"/>
              <a:gd name="connsiteX12" fmla="*/ 8534507 w 10715630"/>
              <a:gd name="connsiteY12" fmla="*/ 0 h 3828276"/>
              <a:gd name="connsiteX13" fmla="*/ 9142020 w 10715630"/>
              <a:gd name="connsiteY13" fmla="*/ 31315 h 3828276"/>
              <a:gd name="connsiteX14" fmla="*/ 9386277 w 10715630"/>
              <a:gd name="connsiteY14" fmla="*/ 93945 h 3828276"/>
              <a:gd name="connsiteX15" fmla="*/ 9592957 w 10715630"/>
              <a:gd name="connsiteY15" fmla="*/ 169101 h 3828276"/>
              <a:gd name="connsiteX16" fmla="*/ 9981263 w 10715630"/>
              <a:gd name="connsiteY16" fmla="*/ 375781 h 3828276"/>
              <a:gd name="connsiteX17" fmla="*/ 10425937 w 10715630"/>
              <a:gd name="connsiteY17" fmla="*/ 751561 h 3828276"/>
              <a:gd name="connsiteX18" fmla="*/ 10670195 w 10715630"/>
              <a:gd name="connsiteY18" fmla="*/ 1240076 h 3828276"/>
              <a:gd name="connsiteX19" fmla="*/ 10714036 w 10715630"/>
              <a:gd name="connsiteY19" fmla="*/ 1791222 h 3828276"/>
              <a:gd name="connsiteX20" fmla="*/ 10707773 w 10715630"/>
              <a:gd name="connsiteY20" fmla="*/ 2035479 h 3828276"/>
              <a:gd name="connsiteX21" fmla="*/ 10632617 w 10715630"/>
              <a:gd name="connsiteY21" fmla="*/ 2311052 h 3828276"/>
              <a:gd name="connsiteX22" fmla="*/ 10432200 w 10715630"/>
              <a:gd name="connsiteY22" fmla="*/ 2680570 h 3828276"/>
              <a:gd name="connsiteX23" fmla="*/ 10269362 w 10715630"/>
              <a:gd name="connsiteY23" fmla="*/ 2843408 h 3828276"/>
              <a:gd name="connsiteX24" fmla="*/ 10012578 w 10715630"/>
              <a:gd name="connsiteY24" fmla="*/ 2987457 h 3828276"/>
              <a:gd name="connsiteX25" fmla="*/ 9430118 w 10715630"/>
              <a:gd name="connsiteY25" fmla="*/ 3118981 h 3828276"/>
              <a:gd name="connsiteX26" fmla="*/ 8496929 w 10715630"/>
              <a:gd name="connsiteY26" fmla="*/ 3106455 h 3828276"/>
              <a:gd name="connsiteX27" fmla="*/ 7632633 w 10715630"/>
              <a:gd name="connsiteY27" fmla="*/ 3043824 h 3828276"/>
              <a:gd name="connsiteX28" fmla="*/ 7106540 w 10715630"/>
              <a:gd name="connsiteY28" fmla="*/ 2974931 h 3828276"/>
              <a:gd name="connsiteX29" fmla="*/ 5634732 w 10715630"/>
              <a:gd name="connsiteY29" fmla="*/ 2812093 h 3828276"/>
              <a:gd name="connsiteX30" fmla="*/ 5484420 w 10715630"/>
              <a:gd name="connsiteY30" fmla="*/ 2943616 h 3828276"/>
              <a:gd name="connsiteX31" fmla="*/ 5778781 w 10715630"/>
              <a:gd name="connsiteY31" fmla="*/ 2999983 h 3828276"/>
              <a:gd name="connsiteX32" fmla="*/ 5246425 w 10715630"/>
              <a:gd name="connsiteY32" fmla="*/ 2711885 h 3828276"/>
              <a:gd name="connsiteX0" fmla="*/ 0 w 10715630"/>
              <a:gd name="connsiteY0" fmla="*/ 3799348 h 3828276"/>
              <a:gd name="connsiteX1" fmla="*/ 3968770 w 10715630"/>
              <a:gd name="connsiteY1" fmla="*/ 3739019 h 3828276"/>
              <a:gd name="connsiteX2" fmla="*/ 5634732 w 10715630"/>
              <a:gd name="connsiteY2" fmla="*/ 2774515 h 3828276"/>
              <a:gd name="connsiteX3" fmla="*/ 5866463 w 10715630"/>
              <a:gd name="connsiteY3" fmla="*/ 2254685 h 3828276"/>
              <a:gd name="connsiteX4" fmla="*/ 5997987 w 10715630"/>
              <a:gd name="connsiteY4" fmla="*/ 1803748 h 3828276"/>
              <a:gd name="connsiteX5" fmla="*/ 6411346 w 10715630"/>
              <a:gd name="connsiteY5" fmla="*/ 1108553 h 3828276"/>
              <a:gd name="connsiteX6" fmla="*/ 6693181 w 10715630"/>
              <a:gd name="connsiteY6" fmla="*/ 770350 h 3828276"/>
              <a:gd name="connsiteX7" fmla="*/ 6843494 w 10715630"/>
              <a:gd name="connsiteY7" fmla="*/ 632564 h 3828276"/>
              <a:gd name="connsiteX8" fmla="*/ 7306957 w 10715630"/>
              <a:gd name="connsiteY8" fmla="*/ 319413 h 3828276"/>
              <a:gd name="connsiteX9" fmla="*/ 7826787 w 10715630"/>
              <a:gd name="connsiteY9" fmla="*/ 112734 h 3828276"/>
              <a:gd name="connsiteX10" fmla="*/ 8071044 w 10715630"/>
              <a:gd name="connsiteY10" fmla="*/ 43841 h 3828276"/>
              <a:gd name="connsiteX11" fmla="*/ 8534507 w 10715630"/>
              <a:gd name="connsiteY11" fmla="*/ 0 h 3828276"/>
              <a:gd name="connsiteX12" fmla="*/ 9142020 w 10715630"/>
              <a:gd name="connsiteY12" fmla="*/ 31315 h 3828276"/>
              <a:gd name="connsiteX13" fmla="*/ 9386277 w 10715630"/>
              <a:gd name="connsiteY13" fmla="*/ 93945 h 3828276"/>
              <a:gd name="connsiteX14" fmla="*/ 9592957 w 10715630"/>
              <a:gd name="connsiteY14" fmla="*/ 169101 h 3828276"/>
              <a:gd name="connsiteX15" fmla="*/ 9981263 w 10715630"/>
              <a:gd name="connsiteY15" fmla="*/ 375781 h 3828276"/>
              <a:gd name="connsiteX16" fmla="*/ 10425937 w 10715630"/>
              <a:gd name="connsiteY16" fmla="*/ 751561 h 3828276"/>
              <a:gd name="connsiteX17" fmla="*/ 10670195 w 10715630"/>
              <a:gd name="connsiteY17" fmla="*/ 1240076 h 3828276"/>
              <a:gd name="connsiteX18" fmla="*/ 10714036 w 10715630"/>
              <a:gd name="connsiteY18" fmla="*/ 1791222 h 3828276"/>
              <a:gd name="connsiteX19" fmla="*/ 10707773 w 10715630"/>
              <a:gd name="connsiteY19" fmla="*/ 2035479 h 3828276"/>
              <a:gd name="connsiteX20" fmla="*/ 10632617 w 10715630"/>
              <a:gd name="connsiteY20" fmla="*/ 2311052 h 3828276"/>
              <a:gd name="connsiteX21" fmla="*/ 10432200 w 10715630"/>
              <a:gd name="connsiteY21" fmla="*/ 2680570 h 3828276"/>
              <a:gd name="connsiteX22" fmla="*/ 10269362 w 10715630"/>
              <a:gd name="connsiteY22" fmla="*/ 2843408 h 3828276"/>
              <a:gd name="connsiteX23" fmla="*/ 10012578 w 10715630"/>
              <a:gd name="connsiteY23" fmla="*/ 2987457 h 3828276"/>
              <a:gd name="connsiteX24" fmla="*/ 9430118 w 10715630"/>
              <a:gd name="connsiteY24" fmla="*/ 3118981 h 3828276"/>
              <a:gd name="connsiteX25" fmla="*/ 8496929 w 10715630"/>
              <a:gd name="connsiteY25" fmla="*/ 3106455 h 3828276"/>
              <a:gd name="connsiteX26" fmla="*/ 7632633 w 10715630"/>
              <a:gd name="connsiteY26" fmla="*/ 3043824 h 3828276"/>
              <a:gd name="connsiteX27" fmla="*/ 7106540 w 10715630"/>
              <a:gd name="connsiteY27" fmla="*/ 2974931 h 3828276"/>
              <a:gd name="connsiteX28" fmla="*/ 5634732 w 10715630"/>
              <a:gd name="connsiteY28" fmla="*/ 2812093 h 3828276"/>
              <a:gd name="connsiteX29" fmla="*/ 5484420 w 10715630"/>
              <a:gd name="connsiteY29" fmla="*/ 2943616 h 3828276"/>
              <a:gd name="connsiteX30" fmla="*/ 5778781 w 10715630"/>
              <a:gd name="connsiteY30" fmla="*/ 2999983 h 3828276"/>
              <a:gd name="connsiteX31" fmla="*/ 5246425 w 10715630"/>
              <a:gd name="connsiteY31" fmla="*/ 2711885 h 3828276"/>
              <a:gd name="connsiteX0" fmla="*/ 0 w 10302990"/>
              <a:gd name="connsiteY0" fmla="*/ 3799348 h 3828276"/>
              <a:gd name="connsiteX1" fmla="*/ 3556130 w 10302990"/>
              <a:gd name="connsiteY1" fmla="*/ 3739019 h 3828276"/>
              <a:gd name="connsiteX2" fmla="*/ 5222092 w 10302990"/>
              <a:gd name="connsiteY2" fmla="*/ 2774515 h 3828276"/>
              <a:gd name="connsiteX3" fmla="*/ 5453823 w 10302990"/>
              <a:gd name="connsiteY3" fmla="*/ 2254685 h 3828276"/>
              <a:gd name="connsiteX4" fmla="*/ 5585347 w 10302990"/>
              <a:gd name="connsiteY4" fmla="*/ 1803748 h 3828276"/>
              <a:gd name="connsiteX5" fmla="*/ 5998706 w 10302990"/>
              <a:gd name="connsiteY5" fmla="*/ 1108553 h 3828276"/>
              <a:gd name="connsiteX6" fmla="*/ 6280541 w 10302990"/>
              <a:gd name="connsiteY6" fmla="*/ 770350 h 3828276"/>
              <a:gd name="connsiteX7" fmla="*/ 6430854 w 10302990"/>
              <a:gd name="connsiteY7" fmla="*/ 632564 h 3828276"/>
              <a:gd name="connsiteX8" fmla="*/ 6894317 w 10302990"/>
              <a:gd name="connsiteY8" fmla="*/ 319413 h 3828276"/>
              <a:gd name="connsiteX9" fmla="*/ 7414147 w 10302990"/>
              <a:gd name="connsiteY9" fmla="*/ 112734 h 3828276"/>
              <a:gd name="connsiteX10" fmla="*/ 7658404 w 10302990"/>
              <a:gd name="connsiteY10" fmla="*/ 43841 h 3828276"/>
              <a:gd name="connsiteX11" fmla="*/ 8121867 w 10302990"/>
              <a:gd name="connsiteY11" fmla="*/ 0 h 3828276"/>
              <a:gd name="connsiteX12" fmla="*/ 8729380 w 10302990"/>
              <a:gd name="connsiteY12" fmla="*/ 31315 h 3828276"/>
              <a:gd name="connsiteX13" fmla="*/ 8973637 w 10302990"/>
              <a:gd name="connsiteY13" fmla="*/ 93945 h 3828276"/>
              <a:gd name="connsiteX14" fmla="*/ 9180317 w 10302990"/>
              <a:gd name="connsiteY14" fmla="*/ 169101 h 3828276"/>
              <a:gd name="connsiteX15" fmla="*/ 9568623 w 10302990"/>
              <a:gd name="connsiteY15" fmla="*/ 375781 h 3828276"/>
              <a:gd name="connsiteX16" fmla="*/ 10013297 w 10302990"/>
              <a:gd name="connsiteY16" fmla="*/ 751561 h 3828276"/>
              <a:gd name="connsiteX17" fmla="*/ 10257555 w 10302990"/>
              <a:gd name="connsiteY17" fmla="*/ 1240076 h 3828276"/>
              <a:gd name="connsiteX18" fmla="*/ 10301396 w 10302990"/>
              <a:gd name="connsiteY18" fmla="*/ 1791222 h 3828276"/>
              <a:gd name="connsiteX19" fmla="*/ 10295133 w 10302990"/>
              <a:gd name="connsiteY19" fmla="*/ 2035479 h 3828276"/>
              <a:gd name="connsiteX20" fmla="*/ 10219977 w 10302990"/>
              <a:gd name="connsiteY20" fmla="*/ 2311052 h 3828276"/>
              <a:gd name="connsiteX21" fmla="*/ 10019560 w 10302990"/>
              <a:gd name="connsiteY21" fmla="*/ 2680570 h 3828276"/>
              <a:gd name="connsiteX22" fmla="*/ 9856722 w 10302990"/>
              <a:gd name="connsiteY22" fmla="*/ 2843408 h 3828276"/>
              <a:gd name="connsiteX23" fmla="*/ 9599938 w 10302990"/>
              <a:gd name="connsiteY23" fmla="*/ 2987457 h 3828276"/>
              <a:gd name="connsiteX24" fmla="*/ 9017478 w 10302990"/>
              <a:gd name="connsiteY24" fmla="*/ 3118981 h 3828276"/>
              <a:gd name="connsiteX25" fmla="*/ 8084289 w 10302990"/>
              <a:gd name="connsiteY25" fmla="*/ 3106455 h 3828276"/>
              <a:gd name="connsiteX26" fmla="*/ 7219993 w 10302990"/>
              <a:gd name="connsiteY26" fmla="*/ 3043824 h 3828276"/>
              <a:gd name="connsiteX27" fmla="*/ 6693900 w 10302990"/>
              <a:gd name="connsiteY27" fmla="*/ 2974931 h 3828276"/>
              <a:gd name="connsiteX28" fmla="*/ 5222092 w 10302990"/>
              <a:gd name="connsiteY28" fmla="*/ 2812093 h 3828276"/>
              <a:gd name="connsiteX29" fmla="*/ 5071780 w 10302990"/>
              <a:gd name="connsiteY29" fmla="*/ 2943616 h 3828276"/>
              <a:gd name="connsiteX30" fmla="*/ 5366141 w 10302990"/>
              <a:gd name="connsiteY30" fmla="*/ 2999983 h 3828276"/>
              <a:gd name="connsiteX31" fmla="*/ 4833785 w 10302990"/>
              <a:gd name="connsiteY31" fmla="*/ 2711885 h 3828276"/>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731095 w 9402684"/>
              <a:gd name="connsiteY23" fmla="*/ 2974295 h 4164902"/>
              <a:gd name="connsiteX24" fmla="*/ 8699632 w 9402684"/>
              <a:gd name="connsiteY24" fmla="*/ 2987457 h 4164902"/>
              <a:gd name="connsiteX25" fmla="*/ 8117172 w 9402684"/>
              <a:gd name="connsiteY25" fmla="*/ 3118981 h 4164902"/>
              <a:gd name="connsiteX26" fmla="*/ 7183983 w 9402684"/>
              <a:gd name="connsiteY26" fmla="*/ 3106455 h 4164902"/>
              <a:gd name="connsiteX27" fmla="*/ 6319687 w 9402684"/>
              <a:gd name="connsiteY27" fmla="*/ 3043824 h 4164902"/>
              <a:gd name="connsiteX28" fmla="*/ 5793594 w 9402684"/>
              <a:gd name="connsiteY28" fmla="*/ 2974931 h 4164902"/>
              <a:gd name="connsiteX29" fmla="*/ 4321786 w 9402684"/>
              <a:gd name="connsiteY29" fmla="*/ 2812093 h 4164902"/>
              <a:gd name="connsiteX30" fmla="*/ 4171474 w 9402684"/>
              <a:gd name="connsiteY30" fmla="*/ 2943616 h 4164902"/>
              <a:gd name="connsiteX31" fmla="*/ 4465835 w 9402684"/>
              <a:gd name="connsiteY31" fmla="*/ 2999983 h 4164902"/>
              <a:gd name="connsiteX32" fmla="*/ 3933479 w 9402684"/>
              <a:gd name="connsiteY32"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117172 w 9402684"/>
              <a:gd name="connsiteY23" fmla="*/ 3118981 h 4164902"/>
              <a:gd name="connsiteX24" fmla="*/ 7183983 w 9402684"/>
              <a:gd name="connsiteY24" fmla="*/ 3106455 h 4164902"/>
              <a:gd name="connsiteX25" fmla="*/ 6319687 w 9402684"/>
              <a:gd name="connsiteY25" fmla="*/ 3043824 h 4164902"/>
              <a:gd name="connsiteX26" fmla="*/ 5793594 w 9402684"/>
              <a:gd name="connsiteY26" fmla="*/ 2974931 h 4164902"/>
              <a:gd name="connsiteX27" fmla="*/ 4321786 w 9402684"/>
              <a:gd name="connsiteY27" fmla="*/ 2812093 h 4164902"/>
              <a:gd name="connsiteX28" fmla="*/ 4171474 w 9402684"/>
              <a:gd name="connsiteY28" fmla="*/ 2943616 h 4164902"/>
              <a:gd name="connsiteX29" fmla="*/ 4465835 w 9402684"/>
              <a:gd name="connsiteY29" fmla="*/ 2999983 h 4164902"/>
              <a:gd name="connsiteX30" fmla="*/ 3933479 w 9402684"/>
              <a:gd name="connsiteY30"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117172 w 9402684"/>
              <a:gd name="connsiteY22" fmla="*/ 3118981 h 4164902"/>
              <a:gd name="connsiteX23" fmla="*/ 7183983 w 9402684"/>
              <a:gd name="connsiteY23" fmla="*/ 3106455 h 4164902"/>
              <a:gd name="connsiteX24" fmla="*/ 6319687 w 9402684"/>
              <a:gd name="connsiteY24" fmla="*/ 3043824 h 4164902"/>
              <a:gd name="connsiteX25" fmla="*/ 5793594 w 9402684"/>
              <a:gd name="connsiteY25" fmla="*/ 2974931 h 4164902"/>
              <a:gd name="connsiteX26" fmla="*/ 4321786 w 9402684"/>
              <a:gd name="connsiteY26" fmla="*/ 2812093 h 4164902"/>
              <a:gd name="connsiteX27" fmla="*/ 4171474 w 9402684"/>
              <a:gd name="connsiteY27" fmla="*/ 2943616 h 4164902"/>
              <a:gd name="connsiteX28" fmla="*/ 4465835 w 9402684"/>
              <a:gd name="connsiteY28" fmla="*/ 2999983 h 4164902"/>
              <a:gd name="connsiteX29" fmla="*/ 3933479 w 9402684"/>
              <a:gd name="connsiteY29"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7183983 w 9402684"/>
              <a:gd name="connsiteY22" fmla="*/ 3106455 h 4164902"/>
              <a:gd name="connsiteX23" fmla="*/ 6319687 w 9402684"/>
              <a:gd name="connsiteY23" fmla="*/ 3043824 h 4164902"/>
              <a:gd name="connsiteX24" fmla="*/ 5793594 w 9402684"/>
              <a:gd name="connsiteY24" fmla="*/ 2974931 h 4164902"/>
              <a:gd name="connsiteX25" fmla="*/ 4321786 w 9402684"/>
              <a:gd name="connsiteY25" fmla="*/ 2812093 h 4164902"/>
              <a:gd name="connsiteX26" fmla="*/ 4171474 w 9402684"/>
              <a:gd name="connsiteY26" fmla="*/ 2943616 h 4164902"/>
              <a:gd name="connsiteX27" fmla="*/ 4465835 w 9402684"/>
              <a:gd name="connsiteY27" fmla="*/ 2999983 h 4164902"/>
              <a:gd name="connsiteX28" fmla="*/ 3933479 w 9402684"/>
              <a:gd name="connsiteY28" fmla="*/ 2711885 h 4164902"/>
              <a:gd name="connsiteX0" fmla="*/ 0 w 9501499"/>
              <a:gd name="connsiteY0" fmla="*/ 4164902 h 4164902"/>
              <a:gd name="connsiteX1" fmla="*/ 2655824 w 9501499"/>
              <a:gd name="connsiteY1" fmla="*/ 3739019 h 4164902"/>
              <a:gd name="connsiteX2" fmla="*/ 4321786 w 9501499"/>
              <a:gd name="connsiteY2" fmla="*/ 2774515 h 4164902"/>
              <a:gd name="connsiteX3" fmla="*/ 4553517 w 9501499"/>
              <a:gd name="connsiteY3" fmla="*/ 2254685 h 4164902"/>
              <a:gd name="connsiteX4" fmla="*/ 4685041 w 9501499"/>
              <a:gd name="connsiteY4" fmla="*/ 1803748 h 4164902"/>
              <a:gd name="connsiteX5" fmla="*/ 5098400 w 9501499"/>
              <a:gd name="connsiteY5" fmla="*/ 1108553 h 4164902"/>
              <a:gd name="connsiteX6" fmla="*/ 5380235 w 9501499"/>
              <a:gd name="connsiteY6" fmla="*/ 770350 h 4164902"/>
              <a:gd name="connsiteX7" fmla="*/ 5530548 w 9501499"/>
              <a:gd name="connsiteY7" fmla="*/ 632564 h 4164902"/>
              <a:gd name="connsiteX8" fmla="*/ 5994011 w 9501499"/>
              <a:gd name="connsiteY8" fmla="*/ 319413 h 4164902"/>
              <a:gd name="connsiteX9" fmla="*/ 6513841 w 9501499"/>
              <a:gd name="connsiteY9" fmla="*/ 112734 h 4164902"/>
              <a:gd name="connsiteX10" fmla="*/ 6758098 w 9501499"/>
              <a:gd name="connsiteY10" fmla="*/ 43841 h 4164902"/>
              <a:gd name="connsiteX11" fmla="*/ 7221561 w 9501499"/>
              <a:gd name="connsiteY11" fmla="*/ 0 h 4164902"/>
              <a:gd name="connsiteX12" fmla="*/ 7829074 w 9501499"/>
              <a:gd name="connsiteY12" fmla="*/ 31315 h 4164902"/>
              <a:gd name="connsiteX13" fmla="*/ 8073331 w 9501499"/>
              <a:gd name="connsiteY13" fmla="*/ 93945 h 4164902"/>
              <a:gd name="connsiteX14" fmla="*/ 8280011 w 9501499"/>
              <a:gd name="connsiteY14" fmla="*/ 169101 h 4164902"/>
              <a:gd name="connsiteX15" fmla="*/ 8668317 w 9501499"/>
              <a:gd name="connsiteY15" fmla="*/ 375781 h 4164902"/>
              <a:gd name="connsiteX16" fmla="*/ 9112991 w 9501499"/>
              <a:gd name="connsiteY16" fmla="*/ 751561 h 4164902"/>
              <a:gd name="connsiteX17" fmla="*/ 9357249 w 9501499"/>
              <a:gd name="connsiteY17" fmla="*/ 1240076 h 4164902"/>
              <a:gd name="connsiteX18" fmla="*/ 9401090 w 9501499"/>
              <a:gd name="connsiteY18" fmla="*/ 1791222 h 4164902"/>
              <a:gd name="connsiteX19" fmla="*/ 9394827 w 9501499"/>
              <a:gd name="connsiteY19" fmla="*/ 2035479 h 4164902"/>
              <a:gd name="connsiteX20" fmla="*/ 9319671 w 9501499"/>
              <a:gd name="connsiteY20" fmla="*/ 2311052 h 4164902"/>
              <a:gd name="connsiteX21" fmla="*/ 7183983 w 9501499"/>
              <a:gd name="connsiteY21" fmla="*/ 3106455 h 4164902"/>
              <a:gd name="connsiteX22" fmla="*/ 6319687 w 9501499"/>
              <a:gd name="connsiteY22" fmla="*/ 3043824 h 4164902"/>
              <a:gd name="connsiteX23" fmla="*/ 5793594 w 9501499"/>
              <a:gd name="connsiteY23" fmla="*/ 2974931 h 4164902"/>
              <a:gd name="connsiteX24" fmla="*/ 4321786 w 9501499"/>
              <a:gd name="connsiteY24" fmla="*/ 2812093 h 4164902"/>
              <a:gd name="connsiteX25" fmla="*/ 4171474 w 9501499"/>
              <a:gd name="connsiteY25" fmla="*/ 2943616 h 4164902"/>
              <a:gd name="connsiteX26" fmla="*/ 4465835 w 9501499"/>
              <a:gd name="connsiteY26" fmla="*/ 2999983 h 4164902"/>
              <a:gd name="connsiteX27" fmla="*/ 3933479 w 9501499"/>
              <a:gd name="connsiteY27" fmla="*/ 2711885 h 4164902"/>
              <a:gd name="connsiteX0" fmla="*/ 0 w 9560696"/>
              <a:gd name="connsiteY0" fmla="*/ 4164902 h 4164902"/>
              <a:gd name="connsiteX1" fmla="*/ 2655824 w 9560696"/>
              <a:gd name="connsiteY1" fmla="*/ 3739019 h 4164902"/>
              <a:gd name="connsiteX2" fmla="*/ 4321786 w 9560696"/>
              <a:gd name="connsiteY2" fmla="*/ 2774515 h 4164902"/>
              <a:gd name="connsiteX3" fmla="*/ 4553517 w 9560696"/>
              <a:gd name="connsiteY3" fmla="*/ 2254685 h 4164902"/>
              <a:gd name="connsiteX4" fmla="*/ 4685041 w 9560696"/>
              <a:gd name="connsiteY4" fmla="*/ 1803748 h 4164902"/>
              <a:gd name="connsiteX5" fmla="*/ 5098400 w 9560696"/>
              <a:gd name="connsiteY5" fmla="*/ 1108553 h 4164902"/>
              <a:gd name="connsiteX6" fmla="*/ 5380235 w 9560696"/>
              <a:gd name="connsiteY6" fmla="*/ 770350 h 4164902"/>
              <a:gd name="connsiteX7" fmla="*/ 5530548 w 9560696"/>
              <a:gd name="connsiteY7" fmla="*/ 632564 h 4164902"/>
              <a:gd name="connsiteX8" fmla="*/ 5994011 w 9560696"/>
              <a:gd name="connsiteY8" fmla="*/ 319413 h 4164902"/>
              <a:gd name="connsiteX9" fmla="*/ 6513841 w 9560696"/>
              <a:gd name="connsiteY9" fmla="*/ 112734 h 4164902"/>
              <a:gd name="connsiteX10" fmla="*/ 6758098 w 9560696"/>
              <a:gd name="connsiteY10" fmla="*/ 43841 h 4164902"/>
              <a:gd name="connsiteX11" fmla="*/ 7221561 w 9560696"/>
              <a:gd name="connsiteY11" fmla="*/ 0 h 4164902"/>
              <a:gd name="connsiteX12" fmla="*/ 7829074 w 9560696"/>
              <a:gd name="connsiteY12" fmla="*/ 31315 h 4164902"/>
              <a:gd name="connsiteX13" fmla="*/ 8073331 w 9560696"/>
              <a:gd name="connsiteY13" fmla="*/ 93945 h 4164902"/>
              <a:gd name="connsiteX14" fmla="*/ 8280011 w 9560696"/>
              <a:gd name="connsiteY14" fmla="*/ 169101 h 4164902"/>
              <a:gd name="connsiteX15" fmla="*/ 8668317 w 9560696"/>
              <a:gd name="connsiteY15" fmla="*/ 375781 h 4164902"/>
              <a:gd name="connsiteX16" fmla="*/ 9112991 w 9560696"/>
              <a:gd name="connsiteY16" fmla="*/ 751561 h 4164902"/>
              <a:gd name="connsiteX17" fmla="*/ 9357249 w 9560696"/>
              <a:gd name="connsiteY17" fmla="*/ 1240076 h 4164902"/>
              <a:gd name="connsiteX18" fmla="*/ 9401090 w 9560696"/>
              <a:gd name="connsiteY18" fmla="*/ 1791222 h 4164902"/>
              <a:gd name="connsiteX19" fmla="*/ 9394827 w 9560696"/>
              <a:gd name="connsiteY19" fmla="*/ 2035479 h 4164902"/>
              <a:gd name="connsiteX20" fmla="*/ 7183983 w 9560696"/>
              <a:gd name="connsiteY20" fmla="*/ 3106455 h 4164902"/>
              <a:gd name="connsiteX21" fmla="*/ 6319687 w 9560696"/>
              <a:gd name="connsiteY21" fmla="*/ 3043824 h 4164902"/>
              <a:gd name="connsiteX22" fmla="*/ 5793594 w 9560696"/>
              <a:gd name="connsiteY22" fmla="*/ 2974931 h 4164902"/>
              <a:gd name="connsiteX23" fmla="*/ 4321786 w 9560696"/>
              <a:gd name="connsiteY23" fmla="*/ 2812093 h 4164902"/>
              <a:gd name="connsiteX24" fmla="*/ 4171474 w 9560696"/>
              <a:gd name="connsiteY24" fmla="*/ 2943616 h 4164902"/>
              <a:gd name="connsiteX25" fmla="*/ 4465835 w 9560696"/>
              <a:gd name="connsiteY25" fmla="*/ 2999983 h 4164902"/>
              <a:gd name="connsiteX26" fmla="*/ 3933479 w 9560696"/>
              <a:gd name="connsiteY26" fmla="*/ 2711885 h 4164902"/>
              <a:gd name="connsiteX0" fmla="*/ 0 w 9434827"/>
              <a:gd name="connsiteY0" fmla="*/ 4164902 h 4164902"/>
              <a:gd name="connsiteX1" fmla="*/ 2655824 w 9434827"/>
              <a:gd name="connsiteY1" fmla="*/ 3739019 h 4164902"/>
              <a:gd name="connsiteX2" fmla="*/ 4321786 w 9434827"/>
              <a:gd name="connsiteY2" fmla="*/ 2774515 h 4164902"/>
              <a:gd name="connsiteX3" fmla="*/ 4553517 w 9434827"/>
              <a:gd name="connsiteY3" fmla="*/ 2254685 h 4164902"/>
              <a:gd name="connsiteX4" fmla="*/ 4685041 w 9434827"/>
              <a:gd name="connsiteY4" fmla="*/ 1803748 h 4164902"/>
              <a:gd name="connsiteX5" fmla="*/ 5098400 w 9434827"/>
              <a:gd name="connsiteY5" fmla="*/ 1108553 h 4164902"/>
              <a:gd name="connsiteX6" fmla="*/ 5380235 w 9434827"/>
              <a:gd name="connsiteY6" fmla="*/ 770350 h 4164902"/>
              <a:gd name="connsiteX7" fmla="*/ 5530548 w 9434827"/>
              <a:gd name="connsiteY7" fmla="*/ 632564 h 4164902"/>
              <a:gd name="connsiteX8" fmla="*/ 5994011 w 9434827"/>
              <a:gd name="connsiteY8" fmla="*/ 319413 h 4164902"/>
              <a:gd name="connsiteX9" fmla="*/ 6513841 w 9434827"/>
              <a:gd name="connsiteY9" fmla="*/ 112734 h 4164902"/>
              <a:gd name="connsiteX10" fmla="*/ 6758098 w 9434827"/>
              <a:gd name="connsiteY10" fmla="*/ 43841 h 4164902"/>
              <a:gd name="connsiteX11" fmla="*/ 7221561 w 9434827"/>
              <a:gd name="connsiteY11" fmla="*/ 0 h 4164902"/>
              <a:gd name="connsiteX12" fmla="*/ 7829074 w 9434827"/>
              <a:gd name="connsiteY12" fmla="*/ 31315 h 4164902"/>
              <a:gd name="connsiteX13" fmla="*/ 8073331 w 9434827"/>
              <a:gd name="connsiteY13" fmla="*/ 93945 h 4164902"/>
              <a:gd name="connsiteX14" fmla="*/ 8280011 w 9434827"/>
              <a:gd name="connsiteY14" fmla="*/ 169101 h 4164902"/>
              <a:gd name="connsiteX15" fmla="*/ 8668317 w 9434827"/>
              <a:gd name="connsiteY15" fmla="*/ 375781 h 4164902"/>
              <a:gd name="connsiteX16" fmla="*/ 9112991 w 9434827"/>
              <a:gd name="connsiteY16" fmla="*/ 751561 h 4164902"/>
              <a:gd name="connsiteX17" fmla="*/ 9357249 w 9434827"/>
              <a:gd name="connsiteY17" fmla="*/ 1240076 h 4164902"/>
              <a:gd name="connsiteX18" fmla="*/ 9401090 w 9434827"/>
              <a:gd name="connsiteY18" fmla="*/ 1791222 h 4164902"/>
              <a:gd name="connsiteX19" fmla="*/ 8879025 w 9434827"/>
              <a:gd name="connsiteY19" fmla="*/ 2907829 h 4164902"/>
              <a:gd name="connsiteX20" fmla="*/ 7183983 w 9434827"/>
              <a:gd name="connsiteY20" fmla="*/ 3106455 h 4164902"/>
              <a:gd name="connsiteX21" fmla="*/ 6319687 w 9434827"/>
              <a:gd name="connsiteY21" fmla="*/ 3043824 h 4164902"/>
              <a:gd name="connsiteX22" fmla="*/ 5793594 w 9434827"/>
              <a:gd name="connsiteY22" fmla="*/ 2974931 h 4164902"/>
              <a:gd name="connsiteX23" fmla="*/ 4321786 w 9434827"/>
              <a:gd name="connsiteY23" fmla="*/ 2812093 h 4164902"/>
              <a:gd name="connsiteX24" fmla="*/ 4171474 w 9434827"/>
              <a:gd name="connsiteY24" fmla="*/ 2943616 h 4164902"/>
              <a:gd name="connsiteX25" fmla="*/ 4465835 w 9434827"/>
              <a:gd name="connsiteY25" fmla="*/ 2999983 h 4164902"/>
              <a:gd name="connsiteX26" fmla="*/ 3933479 w 9434827"/>
              <a:gd name="connsiteY26" fmla="*/ 2711885 h 4164902"/>
              <a:gd name="connsiteX0" fmla="*/ 0 w 9405946"/>
              <a:gd name="connsiteY0" fmla="*/ 4164902 h 4164902"/>
              <a:gd name="connsiteX1" fmla="*/ 2655824 w 9405946"/>
              <a:gd name="connsiteY1" fmla="*/ 3739019 h 4164902"/>
              <a:gd name="connsiteX2" fmla="*/ 4321786 w 9405946"/>
              <a:gd name="connsiteY2" fmla="*/ 2774515 h 4164902"/>
              <a:gd name="connsiteX3" fmla="*/ 4553517 w 9405946"/>
              <a:gd name="connsiteY3" fmla="*/ 2254685 h 4164902"/>
              <a:gd name="connsiteX4" fmla="*/ 4685041 w 9405946"/>
              <a:gd name="connsiteY4" fmla="*/ 1803748 h 4164902"/>
              <a:gd name="connsiteX5" fmla="*/ 5098400 w 9405946"/>
              <a:gd name="connsiteY5" fmla="*/ 1108553 h 4164902"/>
              <a:gd name="connsiteX6" fmla="*/ 5380235 w 9405946"/>
              <a:gd name="connsiteY6" fmla="*/ 770350 h 4164902"/>
              <a:gd name="connsiteX7" fmla="*/ 5530548 w 9405946"/>
              <a:gd name="connsiteY7" fmla="*/ 632564 h 4164902"/>
              <a:gd name="connsiteX8" fmla="*/ 5994011 w 9405946"/>
              <a:gd name="connsiteY8" fmla="*/ 319413 h 4164902"/>
              <a:gd name="connsiteX9" fmla="*/ 6513841 w 9405946"/>
              <a:gd name="connsiteY9" fmla="*/ 112734 h 4164902"/>
              <a:gd name="connsiteX10" fmla="*/ 6758098 w 9405946"/>
              <a:gd name="connsiteY10" fmla="*/ 43841 h 4164902"/>
              <a:gd name="connsiteX11" fmla="*/ 7221561 w 9405946"/>
              <a:gd name="connsiteY11" fmla="*/ 0 h 4164902"/>
              <a:gd name="connsiteX12" fmla="*/ 7829074 w 9405946"/>
              <a:gd name="connsiteY12" fmla="*/ 31315 h 4164902"/>
              <a:gd name="connsiteX13" fmla="*/ 8073331 w 9405946"/>
              <a:gd name="connsiteY13" fmla="*/ 93945 h 4164902"/>
              <a:gd name="connsiteX14" fmla="*/ 8280011 w 9405946"/>
              <a:gd name="connsiteY14" fmla="*/ 169101 h 4164902"/>
              <a:gd name="connsiteX15" fmla="*/ 8668317 w 9405946"/>
              <a:gd name="connsiteY15" fmla="*/ 375781 h 4164902"/>
              <a:gd name="connsiteX16" fmla="*/ 9112991 w 9405946"/>
              <a:gd name="connsiteY16" fmla="*/ 751561 h 4164902"/>
              <a:gd name="connsiteX17" fmla="*/ 9401090 w 9405946"/>
              <a:gd name="connsiteY17" fmla="*/ 1791222 h 4164902"/>
              <a:gd name="connsiteX18" fmla="*/ 8879025 w 9405946"/>
              <a:gd name="connsiteY18" fmla="*/ 2907829 h 4164902"/>
              <a:gd name="connsiteX19" fmla="*/ 7183983 w 9405946"/>
              <a:gd name="connsiteY19" fmla="*/ 3106455 h 4164902"/>
              <a:gd name="connsiteX20" fmla="*/ 6319687 w 9405946"/>
              <a:gd name="connsiteY20" fmla="*/ 3043824 h 4164902"/>
              <a:gd name="connsiteX21" fmla="*/ 5793594 w 9405946"/>
              <a:gd name="connsiteY21" fmla="*/ 2974931 h 4164902"/>
              <a:gd name="connsiteX22" fmla="*/ 4321786 w 9405946"/>
              <a:gd name="connsiteY22" fmla="*/ 2812093 h 4164902"/>
              <a:gd name="connsiteX23" fmla="*/ 4171474 w 9405946"/>
              <a:gd name="connsiteY23" fmla="*/ 2943616 h 4164902"/>
              <a:gd name="connsiteX24" fmla="*/ 4465835 w 9405946"/>
              <a:gd name="connsiteY24" fmla="*/ 2999983 h 4164902"/>
              <a:gd name="connsiteX25" fmla="*/ 3933479 w 9405946"/>
              <a:gd name="connsiteY25" fmla="*/ 2711885 h 4164902"/>
              <a:gd name="connsiteX0" fmla="*/ 0 w 9407634"/>
              <a:gd name="connsiteY0" fmla="*/ 4164902 h 4164902"/>
              <a:gd name="connsiteX1" fmla="*/ 2655824 w 9407634"/>
              <a:gd name="connsiteY1" fmla="*/ 3739019 h 4164902"/>
              <a:gd name="connsiteX2" fmla="*/ 4321786 w 9407634"/>
              <a:gd name="connsiteY2" fmla="*/ 2774515 h 4164902"/>
              <a:gd name="connsiteX3" fmla="*/ 4553517 w 9407634"/>
              <a:gd name="connsiteY3" fmla="*/ 2254685 h 4164902"/>
              <a:gd name="connsiteX4" fmla="*/ 4685041 w 9407634"/>
              <a:gd name="connsiteY4" fmla="*/ 1803748 h 4164902"/>
              <a:gd name="connsiteX5" fmla="*/ 5098400 w 9407634"/>
              <a:gd name="connsiteY5" fmla="*/ 1108553 h 4164902"/>
              <a:gd name="connsiteX6" fmla="*/ 5380235 w 9407634"/>
              <a:gd name="connsiteY6" fmla="*/ 770350 h 4164902"/>
              <a:gd name="connsiteX7" fmla="*/ 5530548 w 9407634"/>
              <a:gd name="connsiteY7" fmla="*/ 632564 h 4164902"/>
              <a:gd name="connsiteX8" fmla="*/ 5994011 w 9407634"/>
              <a:gd name="connsiteY8" fmla="*/ 319413 h 4164902"/>
              <a:gd name="connsiteX9" fmla="*/ 6513841 w 9407634"/>
              <a:gd name="connsiteY9" fmla="*/ 112734 h 4164902"/>
              <a:gd name="connsiteX10" fmla="*/ 6758098 w 9407634"/>
              <a:gd name="connsiteY10" fmla="*/ 43841 h 4164902"/>
              <a:gd name="connsiteX11" fmla="*/ 7221561 w 9407634"/>
              <a:gd name="connsiteY11" fmla="*/ 0 h 4164902"/>
              <a:gd name="connsiteX12" fmla="*/ 7829074 w 9407634"/>
              <a:gd name="connsiteY12" fmla="*/ 31315 h 4164902"/>
              <a:gd name="connsiteX13" fmla="*/ 8073331 w 9407634"/>
              <a:gd name="connsiteY13" fmla="*/ 93945 h 4164902"/>
              <a:gd name="connsiteX14" fmla="*/ 8280011 w 9407634"/>
              <a:gd name="connsiteY14" fmla="*/ 169101 h 4164902"/>
              <a:gd name="connsiteX15" fmla="*/ 9112991 w 9407634"/>
              <a:gd name="connsiteY15" fmla="*/ 751561 h 4164902"/>
              <a:gd name="connsiteX16" fmla="*/ 9401090 w 9407634"/>
              <a:gd name="connsiteY16" fmla="*/ 1791222 h 4164902"/>
              <a:gd name="connsiteX17" fmla="*/ 8879025 w 9407634"/>
              <a:gd name="connsiteY17" fmla="*/ 2907829 h 4164902"/>
              <a:gd name="connsiteX18" fmla="*/ 7183983 w 9407634"/>
              <a:gd name="connsiteY18" fmla="*/ 3106455 h 4164902"/>
              <a:gd name="connsiteX19" fmla="*/ 6319687 w 9407634"/>
              <a:gd name="connsiteY19" fmla="*/ 3043824 h 4164902"/>
              <a:gd name="connsiteX20" fmla="*/ 5793594 w 9407634"/>
              <a:gd name="connsiteY20" fmla="*/ 2974931 h 4164902"/>
              <a:gd name="connsiteX21" fmla="*/ 4321786 w 9407634"/>
              <a:gd name="connsiteY21" fmla="*/ 2812093 h 4164902"/>
              <a:gd name="connsiteX22" fmla="*/ 4171474 w 9407634"/>
              <a:gd name="connsiteY22" fmla="*/ 2943616 h 4164902"/>
              <a:gd name="connsiteX23" fmla="*/ 4465835 w 9407634"/>
              <a:gd name="connsiteY23" fmla="*/ 2999983 h 4164902"/>
              <a:gd name="connsiteX24" fmla="*/ 3933479 w 9407634"/>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18350 w 9409039"/>
              <a:gd name="connsiteY13" fmla="*/ 74773 h 4164902"/>
              <a:gd name="connsiteX14" fmla="*/ 8073331 w 9409039"/>
              <a:gd name="connsiteY14" fmla="*/ 93945 h 4164902"/>
              <a:gd name="connsiteX15" fmla="*/ 9112991 w 9409039"/>
              <a:gd name="connsiteY15" fmla="*/ 751561 h 4164902"/>
              <a:gd name="connsiteX16" fmla="*/ 9401090 w 9409039"/>
              <a:gd name="connsiteY16" fmla="*/ 1791222 h 4164902"/>
              <a:gd name="connsiteX17" fmla="*/ 8879025 w 9409039"/>
              <a:gd name="connsiteY17" fmla="*/ 2907829 h 4164902"/>
              <a:gd name="connsiteX18" fmla="*/ 7183983 w 9409039"/>
              <a:gd name="connsiteY18" fmla="*/ 3106455 h 4164902"/>
              <a:gd name="connsiteX19" fmla="*/ 6319687 w 9409039"/>
              <a:gd name="connsiteY19" fmla="*/ 3043824 h 4164902"/>
              <a:gd name="connsiteX20" fmla="*/ 5793594 w 9409039"/>
              <a:gd name="connsiteY20" fmla="*/ 2974931 h 4164902"/>
              <a:gd name="connsiteX21" fmla="*/ 4321786 w 9409039"/>
              <a:gd name="connsiteY21" fmla="*/ 2812093 h 4164902"/>
              <a:gd name="connsiteX22" fmla="*/ 4171474 w 9409039"/>
              <a:gd name="connsiteY22" fmla="*/ 2943616 h 4164902"/>
              <a:gd name="connsiteX23" fmla="*/ 4465835 w 9409039"/>
              <a:gd name="connsiteY23" fmla="*/ 2999983 h 4164902"/>
              <a:gd name="connsiteX24" fmla="*/ 3933479 w 9409039"/>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8018350 w 9409039"/>
              <a:gd name="connsiteY12" fmla="*/ 74773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502"/>
              <a:gd name="connsiteY0" fmla="*/ 4172857 h 4172857"/>
              <a:gd name="connsiteX1" fmla="*/ 2655824 w 9409502"/>
              <a:gd name="connsiteY1" fmla="*/ 3746974 h 4172857"/>
              <a:gd name="connsiteX2" fmla="*/ 4321786 w 9409502"/>
              <a:gd name="connsiteY2" fmla="*/ 2782470 h 4172857"/>
              <a:gd name="connsiteX3" fmla="*/ 4553517 w 9409502"/>
              <a:gd name="connsiteY3" fmla="*/ 2262640 h 4172857"/>
              <a:gd name="connsiteX4" fmla="*/ 4685041 w 9409502"/>
              <a:gd name="connsiteY4" fmla="*/ 1811703 h 4172857"/>
              <a:gd name="connsiteX5" fmla="*/ 5098400 w 9409502"/>
              <a:gd name="connsiteY5" fmla="*/ 1116508 h 4172857"/>
              <a:gd name="connsiteX6" fmla="*/ 5380235 w 9409502"/>
              <a:gd name="connsiteY6" fmla="*/ 778305 h 4172857"/>
              <a:gd name="connsiteX7" fmla="*/ 5530548 w 9409502"/>
              <a:gd name="connsiteY7" fmla="*/ 640519 h 4172857"/>
              <a:gd name="connsiteX8" fmla="*/ 5994011 w 9409502"/>
              <a:gd name="connsiteY8" fmla="*/ 327368 h 4172857"/>
              <a:gd name="connsiteX9" fmla="*/ 6513841 w 9409502"/>
              <a:gd name="connsiteY9" fmla="*/ 120689 h 4172857"/>
              <a:gd name="connsiteX10" fmla="*/ 6758098 w 9409502"/>
              <a:gd name="connsiteY10" fmla="*/ 51796 h 4172857"/>
              <a:gd name="connsiteX11" fmla="*/ 7221561 w 9409502"/>
              <a:gd name="connsiteY11" fmla="*/ 7955 h 4172857"/>
              <a:gd name="connsiteX12" fmla="*/ 8018350 w 9409502"/>
              <a:gd name="connsiteY12" fmla="*/ 82728 h 4172857"/>
              <a:gd name="connsiteX13" fmla="*/ 9112991 w 9409502"/>
              <a:gd name="connsiteY13" fmla="*/ 759516 h 4172857"/>
              <a:gd name="connsiteX14" fmla="*/ 9401090 w 9409502"/>
              <a:gd name="connsiteY14" fmla="*/ 1799177 h 4172857"/>
              <a:gd name="connsiteX15" fmla="*/ 8879025 w 9409502"/>
              <a:gd name="connsiteY15" fmla="*/ 2915784 h 4172857"/>
              <a:gd name="connsiteX16" fmla="*/ 7183983 w 9409502"/>
              <a:gd name="connsiteY16" fmla="*/ 3114410 h 4172857"/>
              <a:gd name="connsiteX17" fmla="*/ 6319687 w 9409502"/>
              <a:gd name="connsiteY17" fmla="*/ 3051779 h 4172857"/>
              <a:gd name="connsiteX18" fmla="*/ 5793594 w 9409502"/>
              <a:gd name="connsiteY18" fmla="*/ 2982886 h 4172857"/>
              <a:gd name="connsiteX19" fmla="*/ 4321786 w 9409502"/>
              <a:gd name="connsiteY19" fmla="*/ 2820048 h 4172857"/>
              <a:gd name="connsiteX20" fmla="*/ 4171474 w 9409502"/>
              <a:gd name="connsiteY20" fmla="*/ 2951571 h 4172857"/>
              <a:gd name="connsiteX21" fmla="*/ 4465835 w 9409502"/>
              <a:gd name="connsiteY21" fmla="*/ 3007938 h 4172857"/>
              <a:gd name="connsiteX22" fmla="*/ 3933479 w 9409502"/>
              <a:gd name="connsiteY22" fmla="*/ 2719840 h 4172857"/>
              <a:gd name="connsiteX0" fmla="*/ 0 w 9409105"/>
              <a:gd name="connsiteY0" fmla="*/ 4172858 h 4172858"/>
              <a:gd name="connsiteX1" fmla="*/ 2655824 w 9409105"/>
              <a:gd name="connsiteY1" fmla="*/ 3746975 h 4172858"/>
              <a:gd name="connsiteX2" fmla="*/ 4321786 w 9409105"/>
              <a:gd name="connsiteY2" fmla="*/ 2782471 h 4172858"/>
              <a:gd name="connsiteX3" fmla="*/ 4553517 w 9409105"/>
              <a:gd name="connsiteY3" fmla="*/ 2262641 h 4172858"/>
              <a:gd name="connsiteX4" fmla="*/ 4685041 w 9409105"/>
              <a:gd name="connsiteY4" fmla="*/ 1811704 h 4172858"/>
              <a:gd name="connsiteX5" fmla="*/ 5098400 w 9409105"/>
              <a:gd name="connsiteY5" fmla="*/ 1116509 h 4172858"/>
              <a:gd name="connsiteX6" fmla="*/ 5380235 w 9409105"/>
              <a:gd name="connsiteY6" fmla="*/ 778306 h 4172858"/>
              <a:gd name="connsiteX7" fmla="*/ 5530548 w 9409105"/>
              <a:gd name="connsiteY7" fmla="*/ 640520 h 4172858"/>
              <a:gd name="connsiteX8" fmla="*/ 5994011 w 9409105"/>
              <a:gd name="connsiteY8" fmla="*/ 327369 h 4172858"/>
              <a:gd name="connsiteX9" fmla="*/ 6513841 w 9409105"/>
              <a:gd name="connsiteY9" fmla="*/ 120690 h 4172858"/>
              <a:gd name="connsiteX10" fmla="*/ 6758098 w 9409105"/>
              <a:gd name="connsiteY10" fmla="*/ 51797 h 4172858"/>
              <a:gd name="connsiteX11" fmla="*/ 7221561 w 9409105"/>
              <a:gd name="connsiteY11" fmla="*/ 7956 h 4172858"/>
              <a:gd name="connsiteX12" fmla="*/ 8018350 w 9409105"/>
              <a:gd name="connsiteY12" fmla="*/ 82729 h 4172858"/>
              <a:gd name="connsiteX13" fmla="*/ 8065240 w 9409105"/>
              <a:gd name="connsiteY13" fmla="*/ 99347 h 4172858"/>
              <a:gd name="connsiteX14" fmla="*/ 9112991 w 9409105"/>
              <a:gd name="connsiteY14" fmla="*/ 759517 h 4172858"/>
              <a:gd name="connsiteX15" fmla="*/ 9401090 w 9409105"/>
              <a:gd name="connsiteY15" fmla="*/ 1799178 h 4172858"/>
              <a:gd name="connsiteX16" fmla="*/ 8879025 w 9409105"/>
              <a:gd name="connsiteY16" fmla="*/ 2915785 h 4172858"/>
              <a:gd name="connsiteX17" fmla="*/ 7183983 w 9409105"/>
              <a:gd name="connsiteY17" fmla="*/ 3114411 h 4172858"/>
              <a:gd name="connsiteX18" fmla="*/ 6319687 w 9409105"/>
              <a:gd name="connsiteY18" fmla="*/ 3051780 h 4172858"/>
              <a:gd name="connsiteX19" fmla="*/ 5793594 w 9409105"/>
              <a:gd name="connsiteY19" fmla="*/ 2982887 h 4172858"/>
              <a:gd name="connsiteX20" fmla="*/ 4321786 w 9409105"/>
              <a:gd name="connsiteY20" fmla="*/ 2820049 h 4172858"/>
              <a:gd name="connsiteX21" fmla="*/ 4171474 w 9409105"/>
              <a:gd name="connsiteY21" fmla="*/ 2951572 h 4172858"/>
              <a:gd name="connsiteX22" fmla="*/ 4465835 w 9409105"/>
              <a:gd name="connsiteY22" fmla="*/ 3007939 h 4172858"/>
              <a:gd name="connsiteX23" fmla="*/ 3933479 w 9409105"/>
              <a:gd name="connsiteY23" fmla="*/ 2719841 h 4172858"/>
              <a:gd name="connsiteX0" fmla="*/ 0 w 9409502"/>
              <a:gd name="connsiteY0" fmla="*/ 4172858 h 4172858"/>
              <a:gd name="connsiteX1" fmla="*/ 2655824 w 9409502"/>
              <a:gd name="connsiteY1" fmla="*/ 3746975 h 4172858"/>
              <a:gd name="connsiteX2" fmla="*/ 4321786 w 9409502"/>
              <a:gd name="connsiteY2" fmla="*/ 2782471 h 4172858"/>
              <a:gd name="connsiteX3" fmla="*/ 4553517 w 9409502"/>
              <a:gd name="connsiteY3" fmla="*/ 2262641 h 4172858"/>
              <a:gd name="connsiteX4" fmla="*/ 4685041 w 9409502"/>
              <a:gd name="connsiteY4" fmla="*/ 1811704 h 4172858"/>
              <a:gd name="connsiteX5" fmla="*/ 5098400 w 9409502"/>
              <a:gd name="connsiteY5" fmla="*/ 1116509 h 4172858"/>
              <a:gd name="connsiteX6" fmla="*/ 5380235 w 9409502"/>
              <a:gd name="connsiteY6" fmla="*/ 778306 h 4172858"/>
              <a:gd name="connsiteX7" fmla="*/ 5530548 w 9409502"/>
              <a:gd name="connsiteY7" fmla="*/ 640520 h 4172858"/>
              <a:gd name="connsiteX8" fmla="*/ 5994011 w 9409502"/>
              <a:gd name="connsiteY8" fmla="*/ 327369 h 4172858"/>
              <a:gd name="connsiteX9" fmla="*/ 6513841 w 9409502"/>
              <a:gd name="connsiteY9" fmla="*/ 120690 h 4172858"/>
              <a:gd name="connsiteX10" fmla="*/ 6758098 w 9409502"/>
              <a:gd name="connsiteY10" fmla="*/ 51797 h 4172858"/>
              <a:gd name="connsiteX11" fmla="*/ 7221561 w 9409502"/>
              <a:gd name="connsiteY11" fmla="*/ 7956 h 4172858"/>
              <a:gd name="connsiteX12" fmla="*/ 8018350 w 9409502"/>
              <a:gd name="connsiteY12" fmla="*/ 82729 h 4172858"/>
              <a:gd name="connsiteX13" fmla="*/ 9112991 w 9409502"/>
              <a:gd name="connsiteY13" fmla="*/ 759517 h 4172858"/>
              <a:gd name="connsiteX14" fmla="*/ 9401090 w 9409502"/>
              <a:gd name="connsiteY14" fmla="*/ 1799178 h 4172858"/>
              <a:gd name="connsiteX15" fmla="*/ 8879025 w 9409502"/>
              <a:gd name="connsiteY15" fmla="*/ 2915785 h 4172858"/>
              <a:gd name="connsiteX16" fmla="*/ 7183983 w 9409502"/>
              <a:gd name="connsiteY16" fmla="*/ 3114411 h 4172858"/>
              <a:gd name="connsiteX17" fmla="*/ 6319687 w 9409502"/>
              <a:gd name="connsiteY17" fmla="*/ 3051780 h 4172858"/>
              <a:gd name="connsiteX18" fmla="*/ 5793594 w 9409502"/>
              <a:gd name="connsiteY18" fmla="*/ 2982887 h 4172858"/>
              <a:gd name="connsiteX19" fmla="*/ 4321786 w 9409502"/>
              <a:gd name="connsiteY19" fmla="*/ 2820049 h 4172858"/>
              <a:gd name="connsiteX20" fmla="*/ 4171474 w 9409502"/>
              <a:gd name="connsiteY20" fmla="*/ 2951572 h 4172858"/>
              <a:gd name="connsiteX21" fmla="*/ 4465835 w 9409502"/>
              <a:gd name="connsiteY21" fmla="*/ 3007939 h 4172858"/>
              <a:gd name="connsiteX22" fmla="*/ 3933479 w 9409502"/>
              <a:gd name="connsiteY22" fmla="*/ 2719841 h 4172858"/>
              <a:gd name="connsiteX0" fmla="*/ 0 w 9424727"/>
              <a:gd name="connsiteY0" fmla="*/ 4164903 h 4164903"/>
              <a:gd name="connsiteX1" fmla="*/ 2655824 w 9424727"/>
              <a:gd name="connsiteY1" fmla="*/ 3739020 h 4164903"/>
              <a:gd name="connsiteX2" fmla="*/ 4321786 w 9424727"/>
              <a:gd name="connsiteY2" fmla="*/ 2774516 h 4164903"/>
              <a:gd name="connsiteX3" fmla="*/ 4553517 w 9424727"/>
              <a:gd name="connsiteY3" fmla="*/ 2254686 h 4164903"/>
              <a:gd name="connsiteX4" fmla="*/ 4685041 w 9424727"/>
              <a:gd name="connsiteY4" fmla="*/ 1803749 h 4164903"/>
              <a:gd name="connsiteX5" fmla="*/ 5098400 w 9424727"/>
              <a:gd name="connsiteY5" fmla="*/ 1108554 h 4164903"/>
              <a:gd name="connsiteX6" fmla="*/ 5380235 w 9424727"/>
              <a:gd name="connsiteY6" fmla="*/ 770351 h 4164903"/>
              <a:gd name="connsiteX7" fmla="*/ 5530548 w 9424727"/>
              <a:gd name="connsiteY7" fmla="*/ 632565 h 4164903"/>
              <a:gd name="connsiteX8" fmla="*/ 5994011 w 9424727"/>
              <a:gd name="connsiteY8" fmla="*/ 319414 h 4164903"/>
              <a:gd name="connsiteX9" fmla="*/ 6513841 w 9424727"/>
              <a:gd name="connsiteY9" fmla="*/ 112735 h 4164903"/>
              <a:gd name="connsiteX10" fmla="*/ 6758098 w 9424727"/>
              <a:gd name="connsiteY10" fmla="*/ 43842 h 4164903"/>
              <a:gd name="connsiteX11" fmla="*/ 7221561 w 9424727"/>
              <a:gd name="connsiteY11" fmla="*/ 1 h 4164903"/>
              <a:gd name="connsiteX12" fmla="*/ 9112991 w 9424727"/>
              <a:gd name="connsiteY12" fmla="*/ 751562 h 4164903"/>
              <a:gd name="connsiteX13" fmla="*/ 9401090 w 9424727"/>
              <a:gd name="connsiteY13" fmla="*/ 1791223 h 4164903"/>
              <a:gd name="connsiteX14" fmla="*/ 8879025 w 9424727"/>
              <a:gd name="connsiteY14" fmla="*/ 2907830 h 4164903"/>
              <a:gd name="connsiteX15" fmla="*/ 7183983 w 9424727"/>
              <a:gd name="connsiteY15" fmla="*/ 3106456 h 4164903"/>
              <a:gd name="connsiteX16" fmla="*/ 6319687 w 9424727"/>
              <a:gd name="connsiteY16" fmla="*/ 3043825 h 4164903"/>
              <a:gd name="connsiteX17" fmla="*/ 5793594 w 9424727"/>
              <a:gd name="connsiteY17" fmla="*/ 2974932 h 4164903"/>
              <a:gd name="connsiteX18" fmla="*/ 4321786 w 9424727"/>
              <a:gd name="connsiteY18" fmla="*/ 2812094 h 4164903"/>
              <a:gd name="connsiteX19" fmla="*/ 4171474 w 9424727"/>
              <a:gd name="connsiteY19" fmla="*/ 2943617 h 4164903"/>
              <a:gd name="connsiteX20" fmla="*/ 4465835 w 9424727"/>
              <a:gd name="connsiteY20" fmla="*/ 2999984 h 4164903"/>
              <a:gd name="connsiteX21" fmla="*/ 3933479 w 9424727"/>
              <a:gd name="connsiteY21" fmla="*/ 2711886 h 4164903"/>
              <a:gd name="connsiteX0" fmla="*/ 0 w 9424727"/>
              <a:gd name="connsiteY0" fmla="*/ 4199826 h 4199826"/>
              <a:gd name="connsiteX1" fmla="*/ 2655824 w 9424727"/>
              <a:gd name="connsiteY1" fmla="*/ 3773943 h 4199826"/>
              <a:gd name="connsiteX2" fmla="*/ 4321786 w 9424727"/>
              <a:gd name="connsiteY2" fmla="*/ 2809439 h 4199826"/>
              <a:gd name="connsiteX3" fmla="*/ 4553517 w 9424727"/>
              <a:gd name="connsiteY3" fmla="*/ 2289609 h 4199826"/>
              <a:gd name="connsiteX4" fmla="*/ 4685041 w 9424727"/>
              <a:gd name="connsiteY4" fmla="*/ 1838672 h 4199826"/>
              <a:gd name="connsiteX5" fmla="*/ 5098400 w 9424727"/>
              <a:gd name="connsiteY5" fmla="*/ 1143477 h 4199826"/>
              <a:gd name="connsiteX6" fmla="*/ 5380235 w 9424727"/>
              <a:gd name="connsiteY6" fmla="*/ 805274 h 4199826"/>
              <a:gd name="connsiteX7" fmla="*/ 5530548 w 9424727"/>
              <a:gd name="connsiteY7" fmla="*/ 667488 h 4199826"/>
              <a:gd name="connsiteX8" fmla="*/ 5994011 w 9424727"/>
              <a:gd name="connsiteY8" fmla="*/ 354337 h 4199826"/>
              <a:gd name="connsiteX9" fmla="*/ 6513841 w 9424727"/>
              <a:gd name="connsiteY9" fmla="*/ 147658 h 4199826"/>
              <a:gd name="connsiteX10" fmla="*/ 7221561 w 9424727"/>
              <a:gd name="connsiteY10" fmla="*/ 34924 h 4199826"/>
              <a:gd name="connsiteX11" fmla="*/ 9112991 w 9424727"/>
              <a:gd name="connsiteY11" fmla="*/ 786485 h 4199826"/>
              <a:gd name="connsiteX12" fmla="*/ 9401090 w 9424727"/>
              <a:gd name="connsiteY12" fmla="*/ 1826146 h 4199826"/>
              <a:gd name="connsiteX13" fmla="*/ 8879025 w 9424727"/>
              <a:gd name="connsiteY13" fmla="*/ 2942753 h 4199826"/>
              <a:gd name="connsiteX14" fmla="*/ 7183983 w 9424727"/>
              <a:gd name="connsiteY14" fmla="*/ 3141379 h 4199826"/>
              <a:gd name="connsiteX15" fmla="*/ 6319687 w 9424727"/>
              <a:gd name="connsiteY15" fmla="*/ 3078748 h 4199826"/>
              <a:gd name="connsiteX16" fmla="*/ 5793594 w 9424727"/>
              <a:gd name="connsiteY16" fmla="*/ 3009855 h 4199826"/>
              <a:gd name="connsiteX17" fmla="*/ 4321786 w 9424727"/>
              <a:gd name="connsiteY17" fmla="*/ 2847017 h 4199826"/>
              <a:gd name="connsiteX18" fmla="*/ 4171474 w 9424727"/>
              <a:gd name="connsiteY18" fmla="*/ 2978540 h 4199826"/>
              <a:gd name="connsiteX19" fmla="*/ 4465835 w 9424727"/>
              <a:gd name="connsiteY19" fmla="*/ 3034907 h 4199826"/>
              <a:gd name="connsiteX20" fmla="*/ 3933479 w 9424727"/>
              <a:gd name="connsiteY20" fmla="*/ 2746809 h 4199826"/>
              <a:gd name="connsiteX0" fmla="*/ 0 w 9455586"/>
              <a:gd name="connsiteY0" fmla="*/ 4067256 h 4067256"/>
              <a:gd name="connsiteX1" fmla="*/ 2655824 w 9455586"/>
              <a:gd name="connsiteY1" fmla="*/ 3641373 h 4067256"/>
              <a:gd name="connsiteX2" fmla="*/ 4321786 w 9455586"/>
              <a:gd name="connsiteY2" fmla="*/ 2676869 h 4067256"/>
              <a:gd name="connsiteX3" fmla="*/ 4553517 w 9455586"/>
              <a:gd name="connsiteY3" fmla="*/ 2157039 h 4067256"/>
              <a:gd name="connsiteX4" fmla="*/ 4685041 w 9455586"/>
              <a:gd name="connsiteY4" fmla="*/ 1706102 h 4067256"/>
              <a:gd name="connsiteX5" fmla="*/ 5098400 w 9455586"/>
              <a:gd name="connsiteY5" fmla="*/ 1010907 h 4067256"/>
              <a:gd name="connsiteX6" fmla="*/ 5380235 w 9455586"/>
              <a:gd name="connsiteY6" fmla="*/ 672704 h 4067256"/>
              <a:gd name="connsiteX7" fmla="*/ 5530548 w 9455586"/>
              <a:gd name="connsiteY7" fmla="*/ 534918 h 4067256"/>
              <a:gd name="connsiteX8" fmla="*/ 5994011 w 9455586"/>
              <a:gd name="connsiteY8" fmla="*/ 221767 h 4067256"/>
              <a:gd name="connsiteX9" fmla="*/ 6513841 w 9455586"/>
              <a:gd name="connsiteY9" fmla="*/ 15088 h 4067256"/>
              <a:gd name="connsiteX10" fmla="*/ 9112991 w 9455586"/>
              <a:gd name="connsiteY10" fmla="*/ 653915 h 4067256"/>
              <a:gd name="connsiteX11" fmla="*/ 9401090 w 9455586"/>
              <a:gd name="connsiteY11" fmla="*/ 1693576 h 4067256"/>
              <a:gd name="connsiteX12" fmla="*/ 8879025 w 9455586"/>
              <a:gd name="connsiteY12" fmla="*/ 2810183 h 4067256"/>
              <a:gd name="connsiteX13" fmla="*/ 7183983 w 9455586"/>
              <a:gd name="connsiteY13" fmla="*/ 3008809 h 4067256"/>
              <a:gd name="connsiteX14" fmla="*/ 6319687 w 9455586"/>
              <a:gd name="connsiteY14" fmla="*/ 2946178 h 4067256"/>
              <a:gd name="connsiteX15" fmla="*/ 5793594 w 9455586"/>
              <a:gd name="connsiteY15" fmla="*/ 2877285 h 4067256"/>
              <a:gd name="connsiteX16" fmla="*/ 4321786 w 9455586"/>
              <a:gd name="connsiteY16" fmla="*/ 2714447 h 4067256"/>
              <a:gd name="connsiteX17" fmla="*/ 4171474 w 9455586"/>
              <a:gd name="connsiteY17" fmla="*/ 2845970 h 4067256"/>
              <a:gd name="connsiteX18" fmla="*/ 4465835 w 9455586"/>
              <a:gd name="connsiteY18" fmla="*/ 2902337 h 4067256"/>
              <a:gd name="connsiteX19" fmla="*/ 3933479 w 9455586"/>
              <a:gd name="connsiteY19" fmla="*/ 2614239 h 4067256"/>
              <a:gd name="connsiteX0" fmla="*/ 0 w 9537828"/>
              <a:gd name="connsiteY0" fmla="*/ 4133826 h 4133826"/>
              <a:gd name="connsiteX1" fmla="*/ 2655824 w 9537828"/>
              <a:gd name="connsiteY1" fmla="*/ 3707943 h 4133826"/>
              <a:gd name="connsiteX2" fmla="*/ 4321786 w 9537828"/>
              <a:gd name="connsiteY2" fmla="*/ 2743439 h 4133826"/>
              <a:gd name="connsiteX3" fmla="*/ 4553517 w 9537828"/>
              <a:gd name="connsiteY3" fmla="*/ 2223609 h 4133826"/>
              <a:gd name="connsiteX4" fmla="*/ 4685041 w 9537828"/>
              <a:gd name="connsiteY4" fmla="*/ 1772672 h 4133826"/>
              <a:gd name="connsiteX5" fmla="*/ 5098400 w 9537828"/>
              <a:gd name="connsiteY5" fmla="*/ 1077477 h 4133826"/>
              <a:gd name="connsiteX6" fmla="*/ 5380235 w 9537828"/>
              <a:gd name="connsiteY6" fmla="*/ 739274 h 4133826"/>
              <a:gd name="connsiteX7" fmla="*/ 5530548 w 9537828"/>
              <a:gd name="connsiteY7" fmla="*/ 601488 h 4133826"/>
              <a:gd name="connsiteX8" fmla="*/ 5994011 w 9537828"/>
              <a:gd name="connsiteY8" fmla="*/ 288337 h 4133826"/>
              <a:gd name="connsiteX9" fmla="*/ 6513841 w 9537828"/>
              <a:gd name="connsiteY9" fmla="*/ 81658 h 4133826"/>
              <a:gd name="connsiteX10" fmla="*/ 9401090 w 9537828"/>
              <a:gd name="connsiteY10" fmla="*/ 1760146 h 4133826"/>
              <a:gd name="connsiteX11" fmla="*/ 8879025 w 9537828"/>
              <a:gd name="connsiteY11" fmla="*/ 2876753 h 4133826"/>
              <a:gd name="connsiteX12" fmla="*/ 7183983 w 9537828"/>
              <a:gd name="connsiteY12" fmla="*/ 3075379 h 4133826"/>
              <a:gd name="connsiteX13" fmla="*/ 6319687 w 9537828"/>
              <a:gd name="connsiteY13" fmla="*/ 3012748 h 4133826"/>
              <a:gd name="connsiteX14" fmla="*/ 5793594 w 9537828"/>
              <a:gd name="connsiteY14" fmla="*/ 2943855 h 4133826"/>
              <a:gd name="connsiteX15" fmla="*/ 4321786 w 9537828"/>
              <a:gd name="connsiteY15" fmla="*/ 2781017 h 4133826"/>
              <a:gd name="connsiteX16" fmla="*/ 4171474 w 9537828"/>
              <a:gd name="connsiteY16" fmla="*/ 2912540 h 4133826"/>
              <a:gd name="connsiteX17" fmla="*/ 4465835 w 9537828"/>
              <a:gd name="connsiteY17" fmla="*/ 2968907 h 4133826"/>
              <a:gd name="connsiteX18" fmla="*/ 3933479 w 9537828"/>
              <a:gd name="connsiteY18" fmla="*/ 2680809 h 4133826"/>
              <a:gd name="connsiteX0" fmla="*/ 0 w 9574428"/>
              <a:gd name="connsiteY0" fmla="*/ 3895190 h 3895190"/>
              <a:gd name="connsiteX1" fmla="*/ 2655824 w 9574428"/>
              <a:gd name="connsiteY1" fmla="*/ 3469307 h 3895190"/>
              <a:gd name="connsiteX2" fmla="*/ 4321786 w 9574428"/>
              <a:gd name="connsiteY2" fmla="*/ 2504803 h 3895190"/>
              <a:gd name="connsiteX3" fmla="*/ 4553517 w 9574428"/>
              <a:gd name="connsiteY3" fmla="*/ 1984973 h 3895190"/>
              <a:gd name="connsiteX4" fmla="*/ 4685041 w 9574428"/>
              <a:gd name="connsiteY4" fmla="*/ 1534036 h 3895190"/>
              <a:gd name="connsiteX5" fmla="*/ 5098400 w 9574428"/>
              <a:gd name="connsiteY5" fmla="*/ 838841 h 3895190"/>
              <a:gd name="connsiteX6" fmla="*/ 5380235 w 9574428"/>
              <a:gd name="connsiteY6" fmla="*/ 500638 h 3895190"/>
              <a:gd name="connsiteX7" fmla="*/ 5530548 w 9574428"/>
              <a:gd name="connsiteY7" fmla="*/ 362852 h 3895190"/>
              <a:gd name="connsiteX8" fmla="*/ 5994011 w 9574428"/>
              <a:gd name="connsiteY8" fmla="*/ 49701 h 3895190"/>
              <a:gd name="connsiteX9" fmla="*/ 9401090 w 9574428"/>
              <a:gd name="connsiteY9" fmla="*/ 1521510 h 3895190"/>
              <a:gd name="connsiteX10" fmla="*/ 8879025 w 9574428"/>
              <a:gd name="connsiteY10" fmla="*/ 2638117 h 3895190"/>
              <a:gd name="connsiteX11" fmla="*/ 7183983 w 9574428"/>
              <a:gd name="connsiteY11" fmla="*/ 2836743 h 3895190"/>
              <a:gd name="connsiteX12" fmla="*/ 6319687 w 9574428"/>
              <a:gd name="connsiteY12" fmla="*/ 2774112 h 3895190"/>
              <a:gd name="connsiteX13" fmla="*/ 5793594 w 9574428"/>
              <a:gd name="connsiteY13" fmla="*/ 2705219 h 3895190"/>
              <a:gd name="connsiteX14" fmla="*/ 4321786 w 9574428"/>
              <a:gd name="connsiteY14" fmla="*/ 2542381 h 3895190"/>
              <a:gd name="connsiteX15" fmla="*/ 4171474 w 9574428"/>
              <a:gd name="connsiteY15" fmla="*/ 2673904 h 3895190"/>
              <a:gd name="connsiteX16" fmla="*/ 4465835 w 9574428"/>
              <a:gd name="connsiteY16" fmla="*/ 2730271 h 3895190"/>
              <a:gd name="connsiteX17" fmla="*/ 3933479 w 9574428"/>
              <a:gd name="connsiteY17" fmla="*/ 2442173 h 3895190"/>
              <a:gd name="connsiteX0" fmla="*/ 0 w 9434022"/>
              <a:gd name="connsiteY0" fmla="*/ 4067155 h 4067155"/>
              <a:gd name="connsiteX1" fmla="*/ 2655824 w 9434022"/>
              <a:gd name="connsiteY1" fmla="*/ 3641272 h 4067155"/>
              <a:gd name="connsiteX2" fmla="*/ 4321786 w 9434022"/>
              <a:gd name="connsiteY2" fmla="*/ 2676768 h 4067155"/>
              <a:gd name="connsiteX3" fmla="*/ 4553517 w 9434022"/>
              <a:gd name="connsiteY3" fmla="*/ 2156938 h 4067155"/>
              <a:gd name="connsiteX4" fmla="*/ 4685041 w 9434022"/>
              <a:gd name="connsiteY4" fmla="*/ 1706001 h 4067155"/>
              <a:gd name="connsiteX5" fmla="*/ 5098400 w 9434022"/>
              <a:gd name="connsiteY5" fmla="*/ 1010806 h 4067155"/>
              <a:gd name="connsiteX6" fmla="*/ 5380235 w 9434022"/>
              <a:gd name="connsiteY6" fmla="*/ 672603 h 4067155"/>
              <a:gd name="connsiteX7" fmla="*/ 5530548 w 9434022"/>
              <a:gd name="connsiteY7" fmla="*/ 534817 h 4067155"/>
              <a:gd name="connsiteX8" fmla="*/ 8085348 w 9434022"/>
              <a:gd name="connsiteY8" fmla="*/ 38888 h 4067155"/>
              <a:gd name="connsiteX9" fmla="*/ 9401090 w 9434022"/>
              <a:gd name="connsiteY9" fmla="*/ 1693475 h 4067155"/>
              <a:gd name="connsiteX10" fmla="*/ 8879025 w 9434022"/>
              <a:gd name="connsiteY10" fmla="*/ 2810082 h 4067155"/>
              <a:gd name="connsiteX11" fmla="*/ 7183983 w 9434022"/>
              <a:gd name="connsiteY11" fmla="*/ 3008708 h 4067155"/>
              <a:gd name="connsiteX12" fmla="*/ 6319687 w 9434022"/>
              <a:gd name="connsiteY12" fmla="*/ 2946077 h 4067155"/>
              <a:gd name="connsiteX13" fmla="*/ 5793594 w 9434022"/>
              <a:gd name="connsiteY13" fmla="*/ 2877184 h 4067155"/>
              <a:gd name="connsiteX14" fmla="*/ 4321786 w 9434022"/>
              <a:gd name="connsiteY14" fmla="*/ 2714346 h 4067155"/>
              <a:gd name="connsiteX15" fmla="*/ 4171474 w 9434022"/>
              <a:gd name="connsiteY15" fmla="*/ 2845869 h 4067155"/>
              <a:gd name="connsiteX16" fmla="*/ 4465835 w 9434022"/>
              <a:gd name="connsiteY16" fmla="*/ 2902236 h 4067155"/>
              <a:gd name="connsiteX17" fmla="*/ 3933479 w 9434022"/>
              <a:gd name="connsiteY17" fmla="*/ 2614138 h 4067155"/>
              <a:gd name="connsiteX0" fmla="*/ 0 w 9434022"/>
              <a:gd name="connsiteY0" fmla="*/ 4070221 h 4070221"/>
              <a:gd name="connsiteX1" fmla="*/ 2655824 w 9434022"/>
              <a:gd name="connsiteY1" fmla="*/ 3644338 h 4070221"/>
              <a:gd name="connsiteX2" fmla="*/ 4321786 w 9434022"/>
              <a:gd name="connsiteY2" fmla="*/ 2679834 h 4070221"/>
              <a:gd name="connsiteX3" fmla="*/ 4553517 w 9434022"/>
              <a:gd name="connsiteY3" fmla="*/ 2160004 h 4070221"/>
              <a:gd name="connsiteX4" fmla="*/ 4685041 w 9434022"/>
              <a:gd name="connsiteY4" fmla="*/ 1709067 h 4070221"/>
              <a:gd name="connsiteX5" fmla="*/ 5098400 w 9434022"/>
              <a:gd name="connsiteY5" fmla="*/ 1013872 h 4070221"/>
              <a:gd name="connsiteX6" fmla="*/ 5530548 w 9434022"/>
              <a:gd name="connsiteY6" fmla="*/ 537883 h 4070221"/>
              <a:gd name="connsiteX7" fmla="*/ 8085348 w 9434022"/>
              <a:gd name="connsiteY7" fmla="*/ 41954 h 4070221"/>
              <a:gd name="connsiteX8" fmla="*/ 9401090 w 9434022"/>
              <a:gd name="connsiteY8" fmla="*/ 1696541 h 4070221"/>
              <a:gd name="connsiteX9" fmla="*/ 8879025 w 9434022"/>
              <a:gd name="connsiteY9" fmla="*/ 2813148 h 4070221"/>
              <a:gd name="connsiteX10" fmla="*/ 7183983 w 9434022"/>
              <a:gd name="connsiteY10" fmla="*/ 3011774 h 4070221"/>
              <a:gd name="connsiteX11" fmla="*/ 6319687 w 9434022"/>
              <a:gd name="connsiteY11" fmla="*/ 2949143 h 4070221"/>
              <a:gd name="connsiteX12" fmla="*/ 5793594 w 9434022"/>
              <a:gd name="connsiteY12" fmla="*/ 2880250 h 4070221"/>
              <a:gd name="connsiteX13" fmla="*/ 4321786 w 9434022"/>
              <a:gd name="connsiteY13" fmla="*/ 2717412 h 4070221"/>
              <a:gd name="connsiteX14" fmla="*/ 4171474 w 9434022"/>
              <a:gd name="connsiteY14" fmla="*/ 2848935 h 4070221"/>
              <a:gd name="connsiteX15" fmla="*/ 4465835 w 9434022"/>
              <a:gd name="connsiteY15" fmla="*/ 2905302 h 4070221"/>
              <a:gd name="connsiteX16" fmla="*/ 3933479 w 9434022"/>
              <a:gd name="connsiteY16" fmla="*/ 2617204 h 4070221"/>
              <a:gd name="connsiteX0" fmla="*/ 0 w 9434022"/>
              <a:gd name="connsiteY0" fmla="*/ 4078111 h 4078111"/>
              <a:gd name="connsiteX1" fmla="*/ 2655824 w 9434022"/>
              <a:gd name="connsiteY1" fmla="*/ 3652228 h 4078111"/>
              <a:gd name="connsiteX2" fmla="*/ 4321786 w 9434022"/>
              <a:gd name="connsiteY2" fmla="*/ 2687724 h 4078111"/>
              <a:gd name="connsiteX3" fmla="*/ 4553517 w 9434022"/>
              <a:gd name="connsiteY3" fmla="*/ 2167894 h 4078111"/>
              <a:gd name="connsiteX4" fmla="*/ 4685041 w 9434022"/>
              <a:gd name="connsiteY4" fmla="*/ 1716957 h 4078111"/>
              <a:gd name="connsiteX5" fmla="*/ 5530548 w 9434022"/>
              <a:gd name="connsiteY5" fmla="*/ 545773 h 4078111"/>
              <a:gd name="connsiteX6" fmla="*/ 8085348 w 9434022"/>
              <a:gd name="connsiteY6" fmla="*/ 49844 h 4078111"/>
              <a:gd name="connsiteX7" fmla="*/ 9401090 w 9434022"/>
              <a:gd name="connsiteY7" fmla="*/ 1704431 h 4078111"/>
              <a:gd name="connsiteX8" fmla="*/ 8879025 w 9434022"/>
              <a:gd name="connsiteY8" fmla="*/ 2821038 h 4078111"/>
              <a:gd name="connsiteX9" fmla="*/ 7183983 w 9434022"/>
              <a:gd name="connsiteY9" fmla="*/ 3019664 h 4078111"/>
              <a:gd name="connsiteX10" fmla="*/ 6319687 w 9434022"/>
              <a:gd name="connsiteY10" fmla="*/ 2957033 h 4078111"/>
              <a:gd name="connsiteX11" fmla="*/ 5793594 w 9434022"/>
              <a:gd name="connsiteY11" fmla="*/ 2888140 h 4078111"/>
              <a:gd name="connsiteX12" fmla="*/ 4321786 w 9434022"/>
              <a:gd name="connsiteY12" fmla="*/ 2725302 h 4078111"/>
              <a:gd name="connsiteX13" fmla="*/ 4171474 w 9434022"/>
              <a:gd name="connsiteY13" fmla="*/ 2856825 h 4078111"/>
              <a:gd name="connsiteX14" fmla="*/ 4465835 w 9434022"/>
              <a:gd name="connsiteY14" fmla="*/ 2913192 h 4078111"/>
              <a:gd name="connsiteX15" fmla="*/ 3933479 w 9434022"/>
              <a:gd name="connsiteY15" fmla="*/ 2625094 h 4078111"/>
              <a:gd name="connsiteX0" fmla="*/ 0 w 9434022"/>
              <a:gd name="connsiteY0" fmla="*/ 4084740 h 4084740"/>
              <a:gd name="connsiteX1" fmla="*/ 2655824 w 9434022"/>
              <a:gd name="connsiteY1" fmla="*/ 3658857 h 4084740"/>
              <a:gd name="connsiteX2" fmla="*/ 4321786 w 9434022"/>
              <a:gd name="connsiteY2" fmla="*/ 2694353 h 4084740"/>
              <a:gd name="connsiteX3" fmla="*/ 4553517 w 9434022"/>
              <a:gd name="connsiteY3" fmla="*/ 2174523 h 4084740"/>
              <a:gd name="connsiteX4" fmla="*/ 5530548 w 9434022"/>
              <a:gd name="connsiteY4" fmla="*/ 552402 h 4084740"/>
              <a:gd name="connsiteX5" fmla="*/ 8085348 w 9434022"/>
              <a:gd name="connsiteY5" fmla="*/ 56473 h 4084740"/>
              <a:gd name="connsiteX6" fmla="*/ 9401090 w 9434022"/>
              <a:gd name="connsiteY6" fmla="*/ 1711060 h 4084740"/>
              <a:gd name="connsiteX7" fmla="*/ 8879025 w 9434022"/>
              <a:gd name="connsiteY7" fmla="*/ 2827667 h 4084740"/>
              <a:gd name="connsiteX8" fmla="*/ 7183983 w 9434022"/>
              <a:gd name="connsiteY8" fmla="*/ 3026293 h 4084740"/>
              <a:gd name="connsiteX9" fmla="*/ 6319687 w 9434022"/>
              <a:gd name="connsiteY9" fmla="*/ 2963662 h 4084740"/>
              <a:gd name="connsiteX10" fmla="*/ 5793594 w 9434022"/>
              <a:gd name="connsiteY10" fmla="*/ 2894769 h 4084740"/>
              <a:gd name="connsiteX11" fmla="*/ 4321786 w 9434022"/>
              <a:gd name="connsiteY11" fmla="*/ 2731931 h 4084740"/>
              <a:gd name="connsiteX12" fmla="*/ 4171474 w 9434022"/>
              <a:gd name="connsiteY12" fmla="*/ 2863454 h 4084740"/>
              <a:gd name="connsiteX13" fmla="*/ 4465835 w 9434022"/>
              <a:gd name="connsiteY13" fmla="*/ 2919821 h 4084740"/>
              <a:gd name="connsiteX14" fmla="*/ 3933479 w 9434022"/>
              <a:gd name="connsiteY14" fmla="*/ 2631723 h 4084740"/>
              <a:gd name="connsiteX0" fmla="*/ 0 w 9434022"/>
              <a:gd name="connsiteY0" fmla="*/ 4094373 h 4094373"/>
              <a:gd name="connsiteX1" fmla="*/ 2655824 w 9434022"/>
              <a:gd name="connsiteY1" fmla="*/ 3668490 h 4094373"/>
              <a:gd name="connsiteX2" fmla="*/ 4321786 w 9434022"/>
              <a:gd name="connsiteY2" fmla="*/ 2703986 h 4094373"/>
              <a:gd name="connsiteX3" fmla="*/ 5530548 w 9434022"/>
              <a:gd name="connsiteY3" fmla="*/ 562035 h 4094373"/>
              <a:gd name="connsiteX4" fmla="*/ 8085348 w 9434022"/>
              <a:gd name="connsiteY4" fmla="*/ 66106 h 4094373"/>
              <a:gd name="connsiteX5" fmla="*/ 9401090 w 9434022"/>
              <a:gd name="connsiteY5" fmla="*/ 1720693 h 4094373"/>
              <a:gd name="connsiteX6" fmla="*/ 8879025 w 9434022"/>
              <a:gd name="connsiteY6" fmla="*/ 2837300 h 4094373"/>
              <a:gd name="connsiteX7" fmla="*/ 7183983 w 9434022"/>
              <a:gd name="connsiteY7" fmla="*/ 3035926 h 4094373"/>
              <a:gd name="connsiteX8" fmla="*/ 6319687 w 9434022"/>
              <a:gd name="connsiteY8" fmla="*/ 2973295 h 4094373"/>
              <a:gd name="connsiteX9" fmla="*/ 5793594 w 9434022"/>
              <a:gd name="connsiteY9" fmla="*/ 2904402 h 4094373"/>
              <a:gd name="connsiteX10" fmla="*/ 4321786 w 9434022"/>
              <a:gd name="connsiteY10" fmla="*/ 2741564 h 4094373"/>
              <a:gd name="connsiteX11" fmla="*/ 4171474 w 9434022"/>
              <a:gd name="connsiteY11" fmla="*/ 2873087 h 4094373"/>
              <a:gd name="connsiteX12" fmla="*/ 4465835 w 9434022"/>
              <a:gd name="connsiteY12" fmla="*/ 2929454 h 4094373"/>
              <a:gd name="connsiteX13" fmla="*/ 3933479 w 9434022"/>
              <a:gd name="connsiteY13" fmla="*/ 2641356 h 4094373"/>
              <a:gd name="connsiteX0" fmla="*/ 0 w 9434022"/>
              <a:gd name="connsiteY0" fmla="*/ 4111633 h 4111633"/>
              <a:gd name="connsiteX1" fmla="*/ 2655824 w 9434022"/>
              <a:gd name="connsiteY1" fmla="*/ 3685750 h 4111633"/>
              <a:gd name="connsiteX2" fmla="*/ 4321786 w 9434022"/>
              <a:gd name="connsiteY2" fmla="*/ 2721246 h 4111633"/>
              <a:gd name="connsiteX3" fmla="*/ 5530548 w 9434022"/>
              <a:gd name="connsiteY3" fmla="*/ 579295 h 4111633"/>
              <a:gd name="connsiteX4" fmla="*/ 8085348 w 9434022"/>
              <a:gd name="connsiteY4" fmla="*/ 83366 h 4111633"/>
              <a:gd name="connsiteX5" fmla="*/ 9401090 w 9434022"/>
              <a:gd name="connsiteY5" fmla="*/ 1737953 h 4111633"/>
              <a:gd name="connsiteX6" fmla="*/ 8879025 w 9434022"/>
              <a:gd name="connsiteY6" fmla="*/ 2854560 h 4111633"/>
              <a:gd name="connsiteX7" fmla="*/ 7183983 w 9434022"/>
              <a:gd name="connsiteY7" fmla="*/ 3053186 h 4111633"/>
              <a:gd name="connsiteX8" fmla="*/ 6319687 w 9434022"/>
              <a:gd name="connsiteY8" fmla="*/ 2990555 h 4111633"/>
              <a:gd name="connsiteX9" fmla="*/ 5793594 w 9434022"/>
              <a:gd name="connsiteY9" fmla="*/ 2921662 h 4111633"/>
              <a:gd name="connsiteX10" fmla="*/ 4321786 w 9434022"/>
              <a:gd name="connsiteY10" fmla="*/ 2758824 h 4111633"/>
              <a:gd name="connsiteX11" fmla="*/ 4171474 w 9434022"/>
              <a:gd name="connsiteY11" fmla="*/ 2890347 h 4111633"/>
              <a:gd name="connsiteX12" fmla="*/ 4465835 w 9434022"/>
              <a:gd name="connsiteY12" fmla="*/ 2946714 h 4111633"/>
              <a:gd name="connsiteX13" fmla="*/ 3933479 w 9434022"/>
              <a:gd name="connsiteY13" fmla="*/ 2658616 h 4111633"/>
              <a:gd name="connsiteX0" fmla="*/ 0 w 9434022"/>
              <a:gd name="connsiteY0" fmla="*/ 4114443 h 4114443"/>
              <a:gd name="connsiteX1" fmla="*/ 2655824 w 9434022"/>
              <a:gd name="connsiteY1" fmla="*/ 3688560 h 4114443"/>
              <a:gd name="connsiteX2" fmla="*/ 4321786 w 9434022"/>
              <a:gd name="connsiteY2" fmla="*/ 2724056 h 4114443"/>
              <a:gd name="connsiteX3" fmla="*/ 5530548 w 9434022"/>
              <a:gd name="connsiteY3" fmla="*/ 582105 h 4114443"/>
              <a:gd name="connsiteX4" fmla="*/ 8085348 w 9434022"/>
              <a:gd name="connsiteY4" fmla="*/ 86176 h 4114443"/>
              <a:gd name="connsiteX5" fmla="*/ 9401090 w 9434022"/>
              <a:gd name="connsiteY5" fmla="*/ 1740763 h 4114443"/>
              <a:gd name="connsiteX6" fmla="*/ 8879025 w 9434022"/>
              <a:gd name="connsiteY6" fmla="*/ 2857370 h 4114443"/>
              <a:gd name="connsiteX7" fmla="*/ 7183983 w 9434022"/>
              <a:gd name="connsiteY7" fmla="*/ 3055996 h 4114443"/>
              <a:gd name="connsiteX8" fmla="*/ 6319687 w 9434022"/>
              <a:gd name="connsiteY8" fmla="*/ 2993365 h 4114443"/>
              <a:gd name="connsiteX9" fmla="*/ 5793594 w 9434022"/>
              <a:gd name="connsiteY9" fmla="*/ 2924472 h 4114443"/>
              <a:gd name="connsiteX10" fmla="*/ 4321786 w 9434022"/>
              <a:gd name="connsiteY10" fmla="*/ 2761634 h 4114443"/>
              <a:gd name="connsiteX11" fmla="*/ 4171474 w 9434022"/>
              <a:gd name="connsiteY11" fmla="*/ 2893157 h 4114443"/>
              <a:gd name="connsiteX12" fmla="*/ 4465835 w 9434022"/>
              <a:gd name="connsiteY12" fmla="*/ 2949524 h 4114443"/>
              <a:gd name="connsiteX13" fmla="*/ 3933479 w 9434022"/>
              <a:gd name="connsiteY13" fmla="*/ 2661426 h 4114443"/>
              <a:gd name="connsiteX0" fmla="*/ 0 w 9436146"/>
              <a:gd name="connsiteY0" fmla="*/ 4114443 h 4114443"/>
              <a:gd name="connsiteX1" fmla="*/ 2655824 w 9436146"/>
              <a:gd name="connsiteY1" fmla="*/ 3688560 h 4114443"/>
              <a:gd name="connsiteX2" fmla="*/ 4321786 w 9436146"/>
              <a:gd name="connsiteY2" fmla="*/ 2724056 h 4114443"/>
              <a:gd name="connsiteX3" fmla="*/ 5530548 w 9436146"/>
              <a:gd name="connsiteY3" fmla="*/ 582105 h 4114443"/>
              <a:gd name="connsiteX4" fmla="*/ 8085348 w 9436146"/>
              <a:gd name="connsiteY4" fmla="*/ 86176 h 4114443"/>
              <a:gd name="connsiteX5" fmla="*/ 9401090 w 9436146"/>
              <a:gd name="connsiteY5" fmla="*/ 1740763 h 4114443"/>
              <a:gd name="connsiteX6" fmla="*/ 7183983 w 9436146"/>
              <a:gd name="connsiteY6" fmla="*/ 3055996 h 4114443"/>
              <a:gd name="connsiteX7" fmla="*/ 6319687 w 9436146"/>
              <a:gd name="connsiteY7" fmla="*/ 2993365 h 4114443"/>
              <a:gd name="connsiteX8" fmla="*/ 5793594 w 9436146"/>
              <a:gd name="connsiteY8" fmla="*/ 2924472 h 4114443"/>
              <a:gd name="connsiteX9" fmla="*/ 4321786 w 9436146"/>
              <a:gd name="connsiteY9" fmla="*/ 2761634 h 4114443"/>
              <a:gd name="connsiteX10" fmla="*/ 4171474 w 9436146"/>
              <a:gd name="connsiteY10" fmla="*/ 2893157 h 4114443"/>
              <a:gd name="connsiteX11" fmla="*/ 4465835 w 9436146"/>
              <a:gd name="connsiteY11" fmla="*/ 2949524 h 4114443"/>
              <a:gd name="connsiteX12" fmla="*/ 3933479 w 9436146"/>
              <a:gd name="connsiteY12" fmla="*/ 2661426 h 4114443"/>
              <a:gd name="connsiteX0" fmla="*/ 0 w 9487927"/>
              <a:gd name="connsiteY0" fmla="*/ 4114443 h 4114443"/>
              <a:gd name="connsiteX1" fmla="*/ 2655824 w 9487927"/>
              <a:gd name="connsiteY1" fmla="*/ 3688560 h 4114443"/>
              <a:gd name="connsiteX2" fmla="*/ 4321786 w 9487927"/>
              <a:gd name="connsiteY2" fmla="*/ 2724056 h 4114443"/>
              <a:gd name="connsiteX3" fmla="*/ 5530548 w 9487927"/>
              <a:gd name="connsiteY3" fmla="*/ 582105 h 4114443"/>
              <a:gd name="connsiteX4" fmla="*/ 8085348 w 9487927"/>
              <a:gd name="connsiteY4" fmla="*/ 86176 h 4114443"/>
              <a:gd name="connsiteX5" fmla="*/ 9401090 w 9487927"/>
              <a:gd name="connsiteY5" fmla="*/ 1740763 h 4114443"/>
              <a:gd name="connsiteX6" fmla="*/ 6319687 w 9487927"/>
              <a:gd name="connsiteY6" fmla="*/ 2993365 h 4114443"/>
              <a:gd name="connsiteX7" fmla="*/ 5793594 w 9487927"/>
              <a:gd name="connsiteY7" fmla="*/ 2924472 h 4114443"/>
              <a:gd name="connsiteX8" fmla="*/ 4321786 w 9487927"/>
              <a:gd name="connsiteY8" fmla="*/ 2761634 h 4114443"/>
              <a:gd name="connsiteX9" fmla="*/ 4171474 w 9487927"/>
              <a:gd name="connsiteY9" fmla="*/ 2893157 h 4114443"/>
              <a:gd name="connsiteX10" fmla="*/ 4465835 w 9487927"/>
              <a:gd name="connsiteY10" fmla="*/ 2949524 h 4114443"/>
              <a:gd name="connsiteX11" fmla="*/ 3933479 w 9487927"/>
              <a:gd name="connsiteY11" fmla="*/ 2661426 h 4114443"/>
              <a:gd name="connsiteX0" fmla="*/ 0 w 9522079"/>
              <a:gd name="connsiteY0" fmla="*/ 4114443 h 4114443"/>
              <a:gd name="connsiteX1" fmla="*/ 2655824 w 9522079"/>
              <a:gd name="connsiteY1" fmla="*/ 3688560 h 4114443"/>
              <a:gd name="connsiteX2" fmla="*/ 4321786 w 9522079"/>
              <a:gd name="connsiteY2" fmla="*/ 2724056 h 4114443"/>
              <a:gd name="connsiteX3" fmla="*/ 5530548 w 9522079"/>
              <a:gd name="connsiteY3" fmla="*/ 582105 h 4114443"/>
              <a:gd name="connsiteX4" fmla="*/ 8085348 w 9522079"/>
              <a:gd name="connsiteY4" fmla="*/ 86176 h 4114443"/>
              <a:gd name="connsiteX5" fmla="*/ 9401090 w 9522079"/>
              <a:gd name="connsiteY5" fmla="*/ 1740763 h 4114443"/>
              <a:gd name="connsiteX6" fmla="*/ 5793594 w 9522079"/>
              <a:gd name="connsiteY6" fmla="*/ 2924472 h 4114443"/>
              <a:gd name="connsiteX7" fmla="*/ 4321786 w 9522079"/>
              <a:gd name="connsiteY7" fmla="*/ 2761634 h 4114443"/>
              <a:gd name="connsiteX8" fmla="*/ 4171474 w 9522079"/>
              <a:gd name="connsiteY8" fmla="*/ 2893157 h 4114443"/>
              <a:gd name="connsiteX9" fmla="*/ 4465835 w 9522079"/>
              <a:gd name="connsiteY9" fmla="*/ 2949524 h 4114443"/>
              <a:gd name="connsiteX10" fmla="*/ 3933479 w 9522079"/>
              <a:gd name="connsiteY10" fmla="*/ 2661426 h 4114443"/>
              <a:gd name="connsiteX0" fmla="*/ 0 w 9479057"/>
              <a:gd name="connsiteY0" fmla="*/ 4043405 h 4043405"/>
              <a:gd name="connsiteX1" fmla="*/ 2655824 w 9479057"/>
              <a:gd name="connsiteY1" fmla="*/ 3617522 h 4043405"/>
              <a:gd name="connsiteX2" fmla="*/ 4321786 w 9479057"/>
              <a:gd name="connsiteY2" fmla="*/ 2653018 h 4043405"/>
              <a:gd name="connsiteX3" fmla="*/ 5905675 w 9479057"/>
              <a:gd name="connsiteY3" fmla="*/ 951395 h 4043405"/>
              <a:gd name="connsiteX4" fmla="*/ 8085348 w 9479057"/>
              <a:gd name="connsiteY4" fmla="*/ 15138 h 4043405"/>
              <a:gd name="connsiteX5" fmla="*/ 9401090 w 9479057"/>
              <a:gd name="connsiteY5" fmla="*/ 1669725 h 4043405"/>
              <a:gd name="connsiteX6" fmla="*/ 5793594 w 9479057"/>
              <a:gd name="connsiteY6" fmla="*/ 2853434 h 4043405"/>
              <a:gd name="connsiteX7" fmla="*/ 4321786 w 9479057"/>
              <a:gd name="connsiteY7" fmla="*/ 2690596 h 4043405"/>
              <a:gd name="connsiteX8" fmla="*/ 4171474 w 9479057"/>
              <a:gd name="connsiteY8" fmla="*/ 2822119 h 4043405"/>
              <a:gd name="connsiteX9" fmla="*/ 4465835 w 9479057"/>
              <a:gd name="connsiteY9" fmla="*/ 2878486 h 4043405"/>
              <a:gd name="connsiteX10" fmla="*/ 3933479 w 9479057"/>
              <a:gd name="connsiteY10" fmla="*/ 2590388 h 4043405"/>
              <a:gd name="connsiteX0" fmla="*/ 0 w 9603591"/>
              <a:gd name="connsiteY0" fmla="*/ 4028628 h 4028628"/>
              <a:gd name="connsiteX1" fmla="*/ 2655824 w 9603591"/>
              <a:gd name="connsiteY1" fmla="*/ 3602745 h 4028628"/>
              <a:gd name="connsiteX2" fmla="*/ 4321786 w 9603591"/>
              <a:gd name="connsiteY2" fmla="*/ 2638241 h 4028628"/>
              <a:gd name="connsiteX3" fmla="*/ 5905675 w 9603591"/>
              <a:gd name="connsiteY3" fmla="*/ 936618 h 4028628"/>
              <a:gd name="connsiteX4" fmla="*/ 8085348 w 9603591"/>
              <a:gd name="connsiteY4" fmla="*/ 361 h 4028628"/>
              <a:gd name="connsiteX5" fmla="*/ 9401090 w 9603591"/>
              <a:gd name="connsiteY5" fmla="*/ 1654948 h 4028628"/>
              <a:gd name="connsiteX6" fmla="*/ 5793594 w 9603591"/>
              <a:gd name="connsiteY6" fmla="*/ 2838657 h 4028628"/>
              <a:gd name="connsiteX7" fmla="*/ 4321786 w 9603591"/>
              <a:gd name="connsiteY7" fmla="*/ 2675819 h 4028628"/>
              <a:gd name="connsiteX8" fmla="*/ 4171474 w 9603591"/>
              <a:gd name="connsiteY8" fmla="*/ 2807342 h 4028628"/>
              <a:gd name="connsiteX9" fmla="*/ 4465835 w 9603591"/>
              <a:gd name="connsiteY9" fmla="*/ 2863709 h 4028628"/>
              <a:gd name="connsiteX10" fmla="*/ 3933479 w 9603591"/>
              <a:gd name="connsiteY10" fmla="*/ 2575611 h 4028628"/>
              <a:gd name="connsiteX0" fmla="*/ 0 w 9602407"/>
              <a:gd name="connsiteY0" fmla="*/ 4039392 h 4039392"/>
              <a:gd name="connsiteX1" fmla="*/ 2655824 w 9602407"/>
              <a:gd name="connsiteY1" fmla="*/ 3613509 h 4039392"/>
              <a:gd name="connsiteX2" fmla="*/ 4321786 w 9602407"/>
              <a:gd name="connsiteY2" fmla="*/ 2649005 h 4039392"/>
              <a:gd name="connsiteX3" fmla="*/ 5905675 w 9602407"/>
              <a:gd name="connsiteY3" fmla="*/ 947382 h 4039392"/>
              <a:gd name="connsiteX4" fmla="*/ 8085348 w 9602407"/>
              <a:gd name="connsiteY4" fmla="*/ 11125 h 4039392"/>
              <a:gd name="connsiteX5" fmla="*/ 9401090 w 9602407"/>
              <a:gd name="connsiteY5" fmla="*/ 1665712 h 4039392"/>
              <a:gd name="connsiteX6" fmla="*/ 5793594 w 9602407"/>
              <a:gd name="connsiteY6" fmla="*/ 2849421 h 4039392"/>
              <a:gd name="connsiteX7" fmla="*/ 4321786 w 9602407"/>
              <a:gd name="connsiteY7" fmla="*/ 2686583 h 4039392"/>
              <a:gd name="connsiteX8" fmla="*/ 4171474 w 9602407"/>
              <a:gd name="connsiteY8" fmla="*/ 2818106 h 4039392"/>
              <a:gd name="connsiteX9" fmla="*/ 4465835 w 9602407"/>
              <a:gd name="connsiteY9" fmla="*/ 2874473 h 4039392"/>
              <a:gd name="connsiteX10" fmla="*/ 3933479 w 9602407"/>
              <a:gd name="connsiteY10" fmla="*/ 2586375 h 4039392"/>
              <a:gd name="connsiteX0" fmla="*/ 0 w 9656300"/>
              <a:gd name="connsiteY0" fmla="*/ 4038473 h 4038473"/>
              <a:gd name="connsiteX1" fmla="*/ 2655824 w 9656300"/>
              <a:gd name="connsiteY1" fmla="*/ 3612590 h 4038473"/>
              <a:gd name="connsiteX2" fmla="*/ 4321786 w 9656300"/>
              <a:gd name="connsiteY2" fmla="*/ 2648086 h 4038473"/>
              <a:gd name="connsiteX3" fmla="*/ 5905675 w 9656300"/>
              <a:gd name="connsiteY3" fmla="*/ 946463 h 4038473"/>
              <a:gd name="connsiteX4" fmla="*/ 8085348 w 9656300"/>
              <a:gd name="connsiteY4" fmla="*/ 10206 h 4038473"/>
              <a:gd name="connsiteX5" fmla="*/ 9401090 w 9656300"/>
              <a:gd name="connsiteY5" fmla="*/ 1664793 h 4038473"/>
              <a:gd name="connsiteX6" fmla="*/ 5793594 w 9656300"/>
              <a:gd name="connsiteY6" fmla="*/ 2848502 h 4038473"/>
              <a:gd name="connsiteX7" fmla="*/ 4321786 w 9656300"/>
              <a:gd name="connsiteY7" fmla="*/ 2685664 h 4038473"/>
              <a:gd name="connsiteX8" fmla="*/ 4171474 w 9656300"/>
              <a:gd name="connsiteY8" fmla="*/ 2817187 h 4038473"/>
              <a:gd name="connsiteX9" fmla="*/ 4465835 w 9656300"/>
              <a:gd name="connsiteY9" fmla="*/ 2873554 h 4038473"/>
              <a:gd name="connsiteX10" fmla="*/ 3933479 w 9656300"/>
              <a:gd name="connsiteY10" fmla="*/ 2585456 h 4038473"/>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86218"/>
              <a:gd name="connsiteY0" fmla="*/ 4038961 h 4038961"/>
              <a:gd name="connsiteX1" fmla="*/ 2655824 w 9586218"/>
              <a:gd name="connsiteY1" fmla="*/ 3613078 h 4038961"/>
              <a:gd name="connsiteX2" fmla="*/ 4321786 w 9586218"/>
              <a:gd name="connsiteY2" fmla="*/ 2648574 h 4038961"/>
              <a:gd name="connsiteX3" fmla="*/ 5905675 w 9586218"/>
              <a:gd name="connsiteY3" fmla="*/ 946951 h 4038961"/>
              <a:gd name="connsiteX4" fmla="*/ 8085348 w 9586218"/>
              <a:gd name="connsiteY4" fmla="*/ 10694 h 4038961"/>
              <a:gd name="connsiteX5" fmla="*/ 9401090 w 9586218"/>
              <a:gd name="connsiteY5" fmla="*/ 1665281 h 4038961"/>
              <a:gd name="connsiteX6" fmla="*/ 6365664 w 9586218"/>
              <a:gd name="connsiteY6" fmla="*/ 2749294 h 4038961"/>
              <a:gd name="connsiteX7" fmla="*/ 4321786 w 9586218"/>
              <a:gd name="connsiteY7" fmla="*/ 2686152 h 4038961"/>
              <a:gd name="connsiteX8" fmla="*/ 4171474 w 9586218"/>
              <a:gd name="connsiteY8" fmla="*/ 2817675 h 4038961"/>
              <a:gd name="connsiteX9" fmla="*/ 4465835 w 9586218"/>
              <a:gd name="connsiteY9" fmla="*/ 2874042 h 4038961"/>
              <a:gd name="connsiteX10" fmla="*/ 3933479 w 9586218"/>
              <a:gd name="connsiteY10" fmla="*/ 2585944 h 4038961"/>
              <a:gd name="connsiteX0" fmla="*/ 0 w 9669443"/>
              <a:gd name="connsiteY0" fmla="*/ 4041204 h 4041204"/>
              <a:gd name="connsiteX1" fmla="*/ 2655824 w 9669443"/>
              <a:gd name="connsiteY1" fmla="*/ 3615321 h 4041204"/>
              <a:gd name="connsiteX2" fmla="*/ 4321786 w 9669443"/>
              <a:gd name="connsiteY2" fmla="*/ 2650817 h 4041204"/>
              <a:gd name="connsiteX3" fmla="*/ 5905675 w 9669443"/>
              <a:gd name="connsiteY3" fmla="*/ 949194 h 4041204"/>
              <a:gd name="connsiteX4" fmla="*/ 8085348 w 9669443"/>
              <a:gd name="connsiteY4" fmla="*/ 12937 h 4041204"/>
              <a:gd name="connsiteX5" fmla="*/ 9401090 w 9669443"/>
              <a:gd name="connsiteY5" fmla="*/ 1667524 h 4041204"/>
              <a:gd name="connsiteX6" fmla="*/ 6365664 w 9669443"/>
              <a:gd name="connsiteY6" fmla="*/ 2751537 h 4041204"/>
              <a:gd name="connsiteX7" fmla="*/ 4321786 w 9669443"/>
              <a:gd name="connsiteY7" fmla="*/ 2688395 h 4041204"/>
              <a:gd name="connsiteX8" fmla="*/ 4171474 w 9669443"/>
              <a:gd name="connsiteY8" fmla="*/ 2819918 h 4041204"/>
              <a:gd name="connsiteX9" fmla="*/ 4465835 w 9669443"/>
              <a:gd name="connsiteY9" fmla="*/ 2876285 h 4041204"/>
              <a:gd name="connsiteX10" fmla="*/ 3933479 w 9669443"/>
              <a:gd name="connsiteY10" fmla="*/ 2588187 h 4041204"/>
              <a:gd name="connsiteX0" fmla="*/ 0 w 7013619"/>
              <a:gd name="connsiteY0" fmla="*/ 3615321 h 3615322"/>
              <a:gd name="connsiteX1" fmla="*/ 1665962 w 7013619"/>
              <a:gd name="connsiteY1" fmla="*/ 2650817 h 3615322"/>
              <a:gd name="connsiteX2" fmla="*/ 3249851 w 7013619"/>
              <a:gd name="connsiteY2" fmla="*/ 949194 h 3615322"/>
              <a:gd name="connsiteX3" fmla="*/ 5429524 w 7013619"/>
              <a:gd name="connsiteY3" fmla="*/ 12937 h 3615322"/>
              <a:gd name="connsiteX4" fmla="*/ 6745266 w 7013619"/>
              <a:gd name="connsiteY4" fmla="*/ 1667524 h 3615322"/>
              <a:gd name="connsiteX5" fmla="*/ 3709840 w 7013619"/>
              <a:gd name="connsiteY5" fmla="*/ 2751537 h 3615322"/>
              <a:gd name="connsiteX6" fmla="*/ 1665962 w 7013619"/>
              <a:gd name="connsiteY6" fmla="*/ 2688395 h 3615322"/>
              <a:gd name="connsiteX7" fmla="*/ 1515650 w 7013619"/>
              <a:gd name="connsiteY7" fmla="*/ 2819918 h 3615322"/>
              <a:gd name="connsiteX8" fmla="*/ 1810011 w 7013619"/>
              <a:gd name="connsiteY8" fmla="*/ 2876285 h 3615322"/>
              <a:gd name="connsiteX9" fmla="*/ 1277655 w 7013619"/>
              <a:gd name="connsiteY9" fmla="*/ 2588187 h 3615322"/>
              <a:gd name="connsiteX0" fmla="*/ 388307 w 5735964"/>
              <a:gd name="connsiteY0" fmla="*/ 2650817 h 2894524"/>
              <a:gd name="connsiteX1" fmla="*/ 1972196 w 5735964"/>
              <a:gd name="connsiteY1" fmla="*/ 949194 h 2894524"/>
              <a:gd name="connsiteX2" fmla="*/ 4151869 w 5735964"/>
              <a:gd name="connsiteY2" fmla="*/ 12937 h 2894524"/>
              <a:gd name="connsiteX3" fmla="*/ 5467611 w 5735964"/>
              <a:gd name="connsiteY3" fmla="*/ 1667524 h 2894524"/>
              <a:gd name="connsiteX4" fmla="*/ 2432185 w 5735964"/>
              <a:gd name="connsiteY4" fmla="*/ 2751537 h 2894524"/>
              <a:gd name="connsiteX5" fmla="*/ 388307 w 5735964"/>
              <a:gd name="connsiteY5" fmla="*/ 2688395 h 2894524"/>
              <a:gd name="connsiteX6" fmla="*/ 237995 w 5735964"/>
              <a:gd name="connsiteY6" fmla="*/ 2819918 h 2894524"/>
              <a:gd name="connsiteX7" fmla="*/ 532356 w 5735964"/>
              <a:gd name="connsiteY7" fmla="*/ 2876285 h 2894524"/>
              <a:gd name="connsiteX8" fmla="*/ 0 w 5735964"/>
              <a:gd name="connsiteY8" fmla="*/ 2588187 h 2894524"/>
              <a:gd name="connsiteX0" fmla="*/ 221690 w 5569347"/>
              <a:gd name="connsiteY0" fmla="*/ 2650817 h 2894524"/>
              <a:gd name="connsiteX1" fmla="*/ 1805579 w 5569347"/>
              <a:gd name="connsiteY1" fmla="*/ 949194 h 2894524"/>
              <a:gd name="connsiteX2" fmla="*/ 3985252 w 5569347"/>
              <a:gd name="connsiteY2" fmla="*/ 12937 h 2894524"/>
              <a:gd name="connsiteX3" fmla="*/ 5300994 w 5569347"/>
              <a:gd name="connsiteY3" fmla="*/ 1667524 h 2894524"/>
              <a:gd name="connsiteX4" fmla="*/ 2265568 w 5569347"/>
              <a:gd name="connsiteY4" fmla="*/ 2751537 h 2894524"/>
              <a:gd name="connsiteX5" fmla="*/ 221690 w 5569347"/>
              <a:gd name="connsiteY5" fmla="*/ 2688395 h 2894524"/>
              <a:gd name="connsiteX6" fmla="*/ 71378 w 5569347"/>
              <a:gd name="connsiteY6" fmla="*/ 2819918 h 2894524"/>
              <a:gd name="connsiteX7" fmla="*/ 365739 w 5569347"/>
              <a:gd name="connsiteY7" fmla="*/ 2876285 h 2894524"/>
              <a:gd name="connsiteX0" fmla="*/ 1805579 w 5569347"/>
              <a:gd name="connsiteY0" fmla="*/ 949194 h 2894524"/>
              <a:gd name="connsiteX1" fmla="*/ 3985252 w 5569347"/>
              <a:gd name="connsiteY1" fmla="*/ 12937 h 2894524"/>
              <a:gd name="connsiteX2" fmla="*/ 5300994 w 5569347"/>
              <a:gd name="connsiteY2" fmla="*/ 1667524 h 2894524"/>
              <a:gd name="connsiteX3" fmla="*/ 2265568 w 5569347"/>
              <a:gd name="connsiteY3" fmla="*/ 2751537 h 2894524"/>
              <a:gd name="connsiteX4" fmla="*/ 221690 w 5569347"/>
              <a:gd name="connsiteY4" fmla="*/ 2688395 h 2894524"/>
              <a:gd name="connsiteX5" fmla="*/ 71378 w 5569347"/>
              <a:gd name="connsiteY5" fmla="*/ 2819918 h 2894524"/>
              <a:gd name="connsiteX6" fmla="*/ 365739 w 5569347"/>
              <a:gd name="connsiteY6" fmla="*/ 2876285 h 2894524"/>
              <a:gd name="connsiteX0" fmla="*/ 1826640 w 5590408"/>
              <a:gd name="connsiteY0" fmla="*/ 949194 h 2893201"/>
              <a:gd name="connsiteX1" fmla="*/ 4006313 w 5590408"/>
              <a:gd name="connsiteY1" fmla="*/ 12937 h 2893201"/>
              <a:gd name="connsiteX2" fmla="*/ 5322055 w 5590408"/>
              <a:gd name="connsiteY2" fmla="*/ 1667524 h 2893201"/>
              <a:gd name="connsiteX3" fmla="*/ 2286629 w 5590408"/>
              <a:gd name="connsiteY3" fmla="*/ 2751537 h 2893201"/>
              <a:gd name="connsiteX4" fmla="*/ 92439 w 5590408"/>
              <a:gd name="connsiteY4" fmla="*/ 2819918 h 2893201"/>
              <a:gd name="connsiteX5" fmla="*/ 386800 w 5590408"/>
              <a:gd name="connsiteY5" fmla="*/ 2876285 h 2893201"/>
              <a:gd name="connsiteX0" fmla="*/ 1886051 w 5649819"/>
              <a:gd name="connsiteY0" fmla="*/ 949194 h 2893201"/>
              <a:gd name="connsiteX1" fmla="*/ 4065724 w 5649819"/>
              <a:gd name="connsiteY1" fmla="*/ 12937 h 2893201"/>
              <a:gd name="connsiteX2" fmla="*/ 5381466 w 5649819"/>
              <a:gd name="connsiteY2" fmla="*/ 1667524 h 2893201"/>
              <a:gd name="connsiteX3" fmla="*/ 2346040 w 5649819"/>
              <a:gd name="connsiteY3" fmla="*/ 2751537 h 2893201"/>
              <a:gd name="connsiteX4" fmla="*/ 181802 w 5649819"/>
              <a:gd name="connsiteY4" fmla="*/ 2817369 h 2893201"/>
              <a:gd name="connsiteX5" fmla="*/ 151850 w 5649819"/>
              <a:gd name="connsiteY5" fmla="*/ 2819918 h 2893201"/>
              <a:gd name="connsiteX6" fmla="*/ 446211 w 5649819"/>
              <a:gd name="connsiteY6" fmla="*/ 2876285 h 2893201"/>
              <a:gd name="connsiteX0" fmla="*/ 1886052 w 5649820"/>
              <a:gd name="connsiteY0" fmla="*/ 949194 h 2854351"/>
              <a:gd name="connsiteX1" fmla="*/ 4065725 w 5649820"/>
              <a:gd name="connsiteY1" fmla="*/ 12937 h 2854351"/>
              <a:gd name="connsiteX2" fmla="*/ 5381467 w 5649820"/>
              <a:gd name="connsiteY2" fmla="*/ 1667524 h 2854351"/>
              <a:gd name="connsiteX3" fmla="*/ 2346041 w 5649820"/>
              <a:gd name="connsiteY3" fmla="*/ 2751537 h 2854351"/>
              <a:gd name="connsiteX4" fmla="*/ 181803 w 5649820"/>
              <a:gd name="connsiteY4" fmla="*/ 2817369 h 2854351"/>
              <a:gd name="connsiteX5" fmla="*/ 151851 w 5649820"/>
              <a:gd name="connsiteY5" fmla="*/ 2819918 h 2854351"/>
              <a:gd name="connsiteX0" fmla="*/ 1704249 w 5468017"/>
              <a:gd name="connsiteY0" fmla="*/ 949194 h 2854352"/>
              <a:gd name="connsiteX1" fmla="*/ 3883922 w 5468017"/>
              <a:gd name="connsiteY1" fmla="*/ 12937 h 2854352"/>
              <a:gd name="connsiteX2" fmla="*/ 5199664 w 5468017"/>
              <a:gd name="connsiteY2" fmla="*/ 1667524 h 2854352"/>
              <a:gd name="connsiteX3" fmla="*/ 2164238 w 5468017"/>
              <a:gd name="connsiteY3" fmla="*/ 2751537 h 2854352"/>
              <a:gd name="connsiteX4" fmla="*/ 0 w 5468017"/>
              <a:gd name="connsiteY4" fmla="*/ 2817369 h 2854352"/>
              <a:gd name="connsiteX0" fmla="*/ 0 w 3763768"/>
              <a:gd name="connsiteY0" fmla="*/ 949194 h 2751537"/>
              <a:gd name="connsiteX1" fmla="*/ 2179673 w 3763768"/>
              <a:gd name="connsiteY1" fmla="*/ 12937 h 2751537"/>
              <a:gd name="connsiteX2" fmla="*/ 3495415 w 3763768"/>
              <a:gd name="connsiteY2" fmla="*/ 1667524 h 2751537"/>
              <a:gd name="connsiteX3" fmla="*/ 459989 w 3763768"/>
              <a:gd name="connsiteY3" fmla="*/ 2751537 h 2751537"/>
              <a:gd name="connsiteX0" fmla="*/ 0 w 3763768"/>
              <a:gd name="connsiteY0" fmla="*/ 949194 h 1667524"/>
              <a:gd name="connsiteX1" fmla="*/ 2179673 w 3763768"/>
              <a:gd name="connsiteY1" fmla="*/ 12937 h 1667524"/>
              <a:gd name="connsiteX2" fmla="*/ 3495415 w 3763768"/>
              <a:gd name="connsiteY2" fmla="*/ 1667524 h 1667524"/>
              <a:gd name="connsiteX0" fmla="*/ 0 w 3495415"/>
              <a:gd name="connsiteY0" fmla="*/ 1046589 h 1764919"/>
              <a:gd name="connsiteX1" fmla="*/ 2179673 w 3495415"/>
              <a:gd name="connsiteY1" fmla="*/ 110332 h 1764919"/>
              <a:gd name="connsiteX2" fmla="*/ 3156703 w 3495415"/>
              <a:gd name="connsiteY2" fmla="*/ 203081 h 1764919"/>
              <a:gd name="connsiteX3" fmla="*/ 3495415 w 3495415"/>
              <a:gd name="connsiteY3" fmla="*/ 1764919 h 1764919"/>
              <a:gd name="connsiteX0" fmla="*/ 0 w 3495415"/>
              <a:gd name="connsiteY0" fmla="*/ 855835 h 1574165"/>
              <a:gd name="connsiteX1" fmla="*/ 3156703 w 3495415"/>
              <a:gd name="connsiteY1" fmla="*/ 12327 h 1574165"/>
              <a:gd name="connsiteX2" fmla="*/ 3495415 w 3495415"/>
              <a:gd name="connsiteY2" fmla="*/ 1574165 h 1574165"/>
              <a:gd name="connsiteX0" fmla="*/ -1 w 338711"/>
              <a:gd name="connsiteY0" fmla="*/ 0 h 1561838"/>
              <a:gd name="connsiteX1" fmla="*/ 338711 w 338711"/>
              <a:gd name="connsiteY1" fmla="*/ 1561838 h 1561838"/>
              <a:gd name="connsiteX0" fmla="*/ -1 w 546970"/>
              <a:gd name="connsiteY0" fmla="*/ 0 h 1561838"/>
              <a:gd name="connsiteX1" fmla="*/ 338711 w 546970"/>
              <a:gd name="connsiteY1" fmla="*/ 1561838 h 1561838"/>
              <a:gd name="connsiteX0" fmla="*/ -1 w 620599"/>
              <a:gd name="connsiteY0" fmla="*/ 0 h 1561838"/>
              <a:gd name="connsiteX1" fmla="*/ 338711 w 620599"/>
              <a:gd name="connsiteY1" fmla="*/ 1561838 h 1561838"/>
              <a:gd name="connsiteX0" fmla="*/ -1 w 586256"/>
              <a:gd name="connsiteY0" fmla="*/ 0 h 1528016"/>
              <a:gd name="connsiteX1" fmla="*/ 257948 w 586256"/>
              <a:gd name="connsiteY1" fmla="*/ 1528016 h 1528016"/>
              <a:gd name="connsiteX0" fmla="*/ -1 w 526885"/>
              <a:gd name="connsiteY0" fmla="*/ 0 h 1528016"/>
              <a:gd name="connsiteX1" fmla="*/ 257948 w 526885"/>
              <a:gd name="connsiteY1" fmla="*/ 1528016 h 1528016"/>
              <a:gd name="connsiteX0" fmla="*/ 860112 w 1127111"/>
              <a:gd name="connsiteY0" fmla="*/ 0 h 2187743"/>
              <a:gd name="connsiteX1" fmla="*/ 0 w 1127111"/>
              <a:gd name="connsiteY1" fmla="*/ 2187743 h 2187743"/>
              <a:gd name="connsiteX0" fmla="*/ 860112 w 1318238"/>
              <a:gd name="connsiteY0" fmla="*/ 0 h 2187743"/>
              <a:gd name="connsiteX1" fmla="*/ 0 w 1318238"/>
              <a:gd name="connsiteY1" fmla="*/ 2187743 h 2187743"/>
              <a:gd name="connsiteX0" fmla="*/ 860112 w 1331757"/>
              <a:gd name="connsiteY0" fmla="*/ 0 h 2187743"/>
              <a:gd name="connsiteX1" fmla="*/ 0 w 1331757"/>
              <a:gd name="connsiteY1" fmla="*/ 2187743 h 2187743"/>
            </a:gdLst>
            <a:ahLst/>
            <a:cxnLst>
              <a:cxn ang="0">
                <a:pos x="connsiteX0" y="connsiteY0"/>
              </a:cxn>
              <a:cxn ang="0">
                <a:pos x="connsiteX1" y="connsiteY1"/>
              </a:cxn>
            </a:cxnLst>
            <a:rect l="l" t="t" r="r" b="b"/>
            <a:pathLst>
              <a:path w="1331757" h="2187743">
                <a:moveTo>
                  <a:pt x="860112" y="0"/>
                </a:moveTo>
                <a:cubicBezTo>
                  <a:pt x="1742309" y="412894"/>
                  <a:pt x="1348407" y="1680846"/>
                  <a:pt x="0" y="2187743"/>
                </a:cubicBezTo>
              </a:path>
            </a:pathLst>
          </a:cu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Inhaltsplatzhalter 2"/>
          <p:cNvSpPr txBox="1">
            <a:spLocks/>
          </p:cNvSpPr>
          <p:nvPr/>
        </p:nvSpPr>
        <p:spPr>
          <a:xfrm>
            <a:off x="6094908" y="2214576"/>
            <a:ext cx="2390897"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2800" b="1" dirty="0" smtClean="0">
                <a:solidFill>
                  <a:schemeClr val="accent4"/>
                </a:solidFill>
                <a:latin typeface="Arial" panose="020B0604020202020204" pitchFamily="34" charset="0"/>
                <a:cs typeface="Arial" panose="020B0604020202020204" pitchFamily="34" charset="0"/>
              </a:rPr>
              <a:t>subscriptions</a:t>
            </a:r>
            <a:endParaRPr lang="de-DE" sz="4400" b="1" dirty="0">
              <a:solidFill>
                <a:schemeClr val="accent4"/>
              </a:solidFill>
              <a:latin typeface="Arial" panose="020B0604020202020204" pitchFamily="34" charset="0"/>
              <a:cs typeface="Arial" panose="020B0604020202020204" pitchFamily="34" charset="0"/>
            </a:endParaRPr>
          </a:p>
        </p:txBody>
      </p:sp>
      <p:sp>
        <p:nvSpPr>
          <p:cNvPr id="28" name="Inhaltsplatzhalter 2"/>
          <p:cNvSpPr txBox="1">
            <a:spLocks/>
          </p:cNvSpPr>
          <p:nvPr/>
        </p:nvSpPr>
        <p:spPr>
          <a:xfrm>
            <a:off x="7067248" y="2677850"/>
            <a:ext cx="2675974"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2800" b="1" dirty="0" smtClean="0">
                <a:solidFill>
                  <a:schemeClr val="accent6"/>
                </a:solidFill>
                <a:latin typeface="Arial" panose="020B0604020202020204" pitchFamily="34" charset="0"/>
                <a:cs typeface="Arial" panose="020B0604020202020204" pitchFamily="34" charset="0"/>
              </a:rPr>
              <a:t>OA publishing</a:t>
            </a:r>
            <a:endParaRPr lang="de-DE" sz="4400" b="1" dirty="0">
              <a:solidFill>
                <a:schemeClr val="accent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4429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30</a:t>
            </a:fld>
            <a:endParaRPr lang="de-DE" dirty="0"/>
          </a:p>
        </p:txBody>
      </p:sp>
      <p:sp>
        <p:nvSpPr>
          <p:cNvPr id="4" name="Rechteck 2"/>
          <p:cNvSpPr/>
          <p:nvPr/>
        </p:nvSpPr>
        <p:spPr>
          <a:xfrm>
            <a:off x="707672" y="1619191"/>
            <a:ext cx="8437969" cy="496996"/>
          </a:xfrm>
          <a:prstGeom prst="rect">
            <a:avLst/>
          </a:prstGeom>
        </p:spPr>
        <p:txBody>
          <a:bodyPr wrap="square">
            <a:spAutoFit/>
          </a:bodyPr>
          <a:lstStyle/>
          <a:p>
            <a:pPr>
              <a:lnSpc>
                <a:spcPts val="3600"/>
              </a:lnSpc>
            </a:pPr>
            <a:endParaRPr lang="en-US" sz="2000" dirty="0" smtClean="0">
              <a:solidFill>
                <a:schemeClr val="accent2"/>
              </a:solidFill>
            </a:endParaRPr>
          </a:p>
        </p:txBody>
      </p:sp>
      <p:sp>
        <p:nvSpPr>
          <p:cNvPr id="33" name="Textplatzhalter 2"/>
          <p:cNvSpPr txBox="1">
            <a:spLocks/>
          </p:cNvSpPr>
          <p:nvPr/>
        </p:nvSpPr>
        <p:spPr>
          <a:xfrm>
            <a:off x="266829" y="399646"/>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Create </a:t>
            </a:r>
            <a:r>
              <a:rPr lang="de-DE" sz="3600" b="1" dirty="0">
                <a:solidFill>
                  <a:schemeClr val="accent6"/>
                </a:solidFill>
              </a:rPr>
              <a:t>a </a:t>
            </a:r>
            <a:r>
              <a:rPr lang="de-DE" sz="3600" b="1" dirty="0" err="1">
                <a:solidFill>
                  <a:schemeClr val="accent6"/>
                </a:solidFill>
              </a:rPr>
              <a:t>strategy</a:t>
            </a:r>
            <a:endParaRPr lang="de-DE" sz="3600" dirty="0"/>
          </a:p>
        </p:txBody>
      </p:sp>
      <p:sp>
        <p:nvSpPr>
          <p:cNvPr id="15" name="Rechteck 2"/>
          <p:cNvSpPr/>
          <p:nvPr/>
        </p:nvSpPr>
        <p:spPr>
          <a:xfrm>
            <a:off x="794318" y="1619191"/>
            <a:ext cx="8437969" cy="496996"/>
          </a:xfrm>
          <a:prstGeom prst="rect">
            <a:avLst/>
          </a:prstGeom>
        </p:spPr>
        <p:txBody>
          <a:bodyPr wrap="square">
            <a:spAutoFit/>
          </a:bodyPr>
          <a:lstStyle/>
          <a:p>
            <a:pPr>
              <a:lnSpc>
                <a:spcPts val="3600"/>
              </a:lnSpc>
            </a:pPr>
            <a:endParaRPr lang="en-US" sz="2000" dirty="0" smtClean="0">
              <a:solidFill>
                <a:schemeClr val="accent2"/>
              </a:solidFill>
            </a:endParaRPr>
          </a:p>
        </p:txBody>
      </p:sp>
      <p:sp>
        <p:nvSpPr>
          <p:cNvPr id="16" name="Inhaltsplatzhalter 2"/>
          <p:cNvSpPr txBox="1">
            <a:spLocks/>
          </p:cNvSpPr>
          <p:nvPr/>
        </p:nvSpPr>
        <p:spPr>
          <a:xfrm>
            <a:off x="399982" y="1397460"/>
            <a:ext cx="8652116"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3200" b="1" dirty="0" smtClean="0">
                <a:solidFill>
                  <a:schemeClr val="accent2"/>
                </a:solidFill>
                <a:latin typeface="Arial" panose="020B0604020202020204" pitchFamily="34" charset="0"/>
                <a:cs typeface="Arial" panose="020B0604020202020204" pitchFamily="34" charset="0"/>
              </a:rPr>
              <a:t>Divest</a:t>
            </a:r>
            <a:r>
              <a:rPr lang="en-US" sz="3200" dirty="0" smtClean="0">
                <a:solidFill>
                  <a:schemeClr val="accent2"/>
                </a:solidFill>
                <a:latin typeface="Arial" panose="020B0604020202020204" pitchFamily="34" charset="0"/>
                <a:cs typeface="Arial" panose="020B0604020202020204" pitchFamily="34" charset="0"/>
              </a:rPr>
              <a:t> of subscriptions - </a:t>
            </a:r>
            <a:r>
              <a:rPr lang="en-US" sz="3200" b="1" dirty="0" smtClean="0">
                <a:solidFill>
                  <a:schemeClr val="accent2"/>
                </a:solidFill>
                <a:latin typeface="Arial" panose="020B0604020202020204" pitchFamily="34" charset="0"/>
                <a:cs typeface="Arial" panose="020B0604020202020204" pitchFamily="34" charset="0"/>
              </a:rPr>
              <a:t>Invest</a:t>
            </a:r>
            <a:r>
              <a:rPr lang="en-US" sz="3200" dirty="0" smtClean="0">
                <a:solidFill>
                  <a:schemeClr val="accent2"/>
                </a:solidFill>
                <a:latin typeface="Arial" panose="020B0604020202020204" pitchFamily="34" charset="0"/>
                <a:cs typeface="Arial" panose="020B0604020202020204" pitchFamily="34" charset="0"/>
              </a:rPr>
              <a:t> in open access</a:t>
            </a:r>
            <a:endParaRPr lang="de-DE" sz="4800" dirty="0">
              <a:solidFill>
                <a:schemeClr val="accent2"/>
              </a:solidFill>
              <a:latin typeface="Arial" panose="020B0604020202020204" pitchFamily="34" charset="0"/>
              <a:cs typeface="Arial" panose="020B0604020202020204" pitchFamily="34" charset="0"/>
            </a:endParaRPr>
          </a:p>
        </p:txBody>
      </p:sp>
      <p:sp>
        <p:nvSpPr>
          <p:cNvPr id="7" name="Rechteck 3"/>
          <p:cNvSpPr/>
          <p:nvPr/>
        </p:nvSpPr>
        <p:spPr>
          <a:xfrm>
            <a:off x="-79285"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 name="Rechteck 3"/>
          <p:cNvSpPr/>
          <p:nvPr/>
        </p:nvSpPr>
        <p:spPr>
          <a:xfrm>
            <a:off x="1195157"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9" name="Rechteck 3"/>
          <p:cNvSpPr/>
          <p:nvPr/>
        </p:nvSpPr>
        <p:spPr>
          <a:xfrm>
            <a:off x="2469599"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0" name="Rechteck 3"/>
          <p:cNvSpPr/>
          <p:nvPr/>
        </p:nvSpPr>
        <p:spPr>
          <a:xfrm>
            <a:off x="3744041"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 name="Rechteck 3"/>
          <p:cNvSpPr/>
          <p:nvPr/>
        </p:nvSpPr>
        <p:spPr>
          <a:xfrm>
            <a:off x="5018483"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 name="Rechteck 3"/>
          <p:cNvSpPr/>
          <p:nvPr/>
        </p:nvSpPr>
        <p:spPr>
          <a:xfrm>
            <a:off x="6292925"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 name="Rechteck 3"/>
          <p:cNvSpPr/>
          <p:nvPr/>
        </p:nvSpPr>
        <p:spPr>
          <a:xfrm>
            <a:off x="7567367"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 name="Rechteck 3"/>
          <p:cNvSpPr/>
          <p:nvPr/>
        </p:nvSpPr>
        <p:spPr>
          <a:xfrm>
            <a:off x="8841810"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5" name="Rechteck 24"/>
          <p:cNvSpPr/>
          <p:nvPr/>
        </p:nvSpPr>
        <p:spPr>
          <a:xfrm rot="16200000" flipH="1">
            <a:off x="-536139" y="3919824"/>
            <a:ext cx="1980758"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26" name="Rechteck 25"/>
          <p:cNvSpPr/>
          <p:nvPr/>
        </p:nvSpPr>
        <p:spPr>
          <a:xfrm rot="16200000" flipH="1">
            <a:off x="725817" y="3919824"/>
            <a:ext cx="1980758"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27" name="Rechteck 26"/>
          <p:cNvSpPr/>
          <p:nvPr/>
        </p:nvSpPr>
        <p:spPr>
          <a:xfrm rot="16200000" flipH="1">
            <a:off x="2078255" y="3919824"/>
            <a:ext cx="1980758" cy="638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28" name="Rechteck 27"/>
          <p:cNvSpPr/>
          <p:nvPr/>
        </p:nvSpPr>
        <p:spPr>
          <a:xfrm rot="16200000" flipH="1">
            <a:off x="3287187" y="3919824"/>
            <a:ext cx="1980758"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29" name="Rechteck 28"/>
          <p:cNvSpPr/>
          <p:nvPr/>
        </p:nvSpPr>
        <p:spPr>
          <a:xfrm rot="16200000" flipH="1">
            <a:off x="4552945" y="3919824"/>
            <a:ext cx="1980758"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30" name="Rechteck 29"/>
          <p:cNvSpPr/>
          <p:nvPr/>
        </p:nvSpPr>
        <p:spPr>
          <a:xfrm rot="16200000" flipH="1">
            <a:off x="5867978" y="3919824"/>
            <a:ext cx="1980758" cy="638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31" name="Rechteck 30"/>
          <p:cNvSpPr/>
          <p:nvPr/>
        </p:nvSpPr>
        <p:spPr>
          <a:xfrm rot="16200000" flipH="1">
            <a:off x="7101345" y="3919824"/>
            <a:ext cx="1980758" cy="638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32" name="Rechteck 31"/>
          <p:cNvSpPr/>
          <p:nvPr/>
        </p:nvSpPr>
        <p:spPr>
          <a:xfrm rot="16200000" flipH="1">
            <a:off x="8416863" y="3919824"/>
            <a:ext cx="1980758" cy="638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pic>
        <p:nvPicPr>
          <p:cNvPr id="34" name="Grafik 33"/>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04711" y="3344598"/>
            <a:ext cx="777128" cy="1214263"/>
          </a:xfrm>
          <a:prstGeom prst="rect">
            <a:avLst/>
          </a:prstGeom>
        </p:spPr>
      </p:pic>
      <p:pic>
        <p:nvPicPr>
          <p:cNvPr id="35" name="Grafik 34"/>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994608" y="3344598"/>
            <a:ext cx="777128" cy="1214263"/>
          </a:xfrm>
          <a:prstGeom prst="rect">
            <a:avLst/>
          </a:prstGeom>
        </p:spPr>
      </p:pic>
      <p:pic>
        <p:nvPicPr>
          <p:cNvPr id="36" name="Grafik 35"/>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69050" y="3344598"/>
            <a:ext cx="777128" cy="1214263"/>
          </a:xfrm>
          <a:prstGeom prst="rect">
            <a:avLst/>
          </a:prstGeom>
        </p:spPr>
      </p:pic>
      <p:pic>
        <p:nvPicPr>
          <p:cNvPr id="37" name="Grafik 36"/>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486342" y="3344598"/>
            <a:ext cx="777128" cy="1214263"/>
          </a:xfrm>
          <a:prstGeom prst="rect">
            <a:avLst/>
          </a:prstGeom>
        </p:spPr>
      </p:pic>
      <p:pic>
        <p:nvPicPr>
          <p:cNvPr id="38" name="Grafik 37"/>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760784" y="3344597"/>
            <a:ext cx="777128" cy="1214263"/>
          </a:xfrm>
          <a:prstGeom prst="rect">
            <a:avLst/>
          </a:prstGeom>
        </p:spPr>
      </p:pic>
      <p:pic>
        <p:nvPicPr>
          <p:cNvPr id="39" name="Grafik 38"/>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075234" y="3344597"/>
            <a:ext cx="777128" cy="1214263"/>
          </a:xfrm>
          <a:prstGeom prst="rect">
            <a:avLst/>
          </a:prstGeom>
        </p:spPr>
      </p:pic>
      <p:pic>
        <p:nvPicPr>
          <p:cNvPr id="40" name="Grafik 39"/>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349463" y="3344596"/>
            <a:ext cx="777128" cy="1214263"/>
          </a:xfrm>
          <a:prstGeom prst="rect">
            <a:avLst/>
          </a:prstGeom>
        </p:spPr>
      </p:pic>
      <p:sp>
        <p:nvSpPr>
          <p:cNvPr id="41" name="Inhaltsplatzhalter 2"/>
          <p:cNvSpPr txBox="1">
            <a:spLocks/>
          </p:cNvSpPr>
          <p:nvPr/>
        </p:nvSpPr>
        <p:spPr>
          <a:xfrm rot="16200000">
            <a:off x="1469456" y="3717422"/>
            <a:ext cx="1827432"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2400" dirty="0" smtClean="0">
                <a:solidFill>
                  <a:schemeClr val="accent2"/>
                </a:solidFill>
                <a:latin typeface="Arial" panose="020B0604020202020204" pitchFamily="34" charset="0"/>
                <a:cs typeface="Arial" panose="020B0604020202020204" pitchFamily="34" charset="0"/>
              </a:rPr>
              <a:t>subscriptions</a:t>
            </a:r>
            <a:endParaRPr lang="de-DE" sz="4000" dirty="0">
              <a:solidFill>
                <a:schemeClr val="accent2"/>
              </a:solidFill>
              <a:latin typeface="Arial" panose="020B0604020202020204" pitchFamily="34" charset="0"/>
              <a:cs typeface="Arial" panose="020B0604020202020204" pitchFamily="34" charset="0"/>
            </a:endParaRPr>
          </a:p>
        </p:txBody>
      </p:sp>
      <p:sp>
        <p:nvSpPr>
          <p:cNvPr id="42" name="Inhaltsplatzhalter 2"/>
          <p:cNvSpPr txBox="1">
            <a:spLocks/>
          </p:cNvSpPr>
          <p:nvPr/>
        </p:nvSpPr>
        <p:spPr>
          <a:xfrm rot="16200000">
            <a:off x="4012940" y="3717422"/>
            <a:ext cx="1827432"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2400" dirty="0" smtClean="0">
                <a:solidFill>
                  <a:schemeClr val="accent2"/>
                </a:solidFill>
                <a:latin typeface="Arial" panose="020B0604020202020204" pitchFamily="34" charset="0"/>
                <a:cs typeface="Arial" panose="020B0604020202020204" pitchFamily="34" charset="0"/>
              </a:rPr>
              <a:t>subscriptions</a:t>
            </a:r>
            <a:endParaRPr lang="de-DE" sz="4000" dirty="0">
              <a:solidFill>
                <a:schemeClr val="accent2"/>
              </a:solidFill>
              <a:latin typeface="Arial" panose="020B0604020202020204" pitchFamily="34" charset="0"/>
              <a:cs typeface="Arial" panose="020B0604020202020204" pitchFamily="34" charset="0"/>
            </a:endParaRPr>
          </a:p>
        </p:txBody>
      </p:sp>
      <p:sp>
        <p:nvSpPr>
          <p:cNvPr id="43" name="Inhaltsplatzhalter 2"/>
          <p:cNvSpPr txBox="1">
            <a:spLocks/>
          </p:cNvSpPr>
          <p:nvPr/>
        </p:nvSpPr>
        <p:spPr>
          <a:xfrm rot="16200000">
            <a:off x="5273732" y="3726485"/>
            <a:ext cx="1827432"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2400" dirty="0" smtClean="0">
                <a:solidFill>
                  <a:schemeClr val="accent2"/>
                </a:solidFill>
                <a:latin typeface="Arial" panose="020B0604020202020204" pitchFamily="34" charset="0"/>
                <a:cs typeface="Arial" panose="020B0604020202020204" pitchFamily="34" charset="0"/>
              </a:rPr>
              <a:t>subscriptions</a:t>
            </a:r>
            <a:endParaRPr lang="de-DE" sz="4000" dirty="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376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withEffect">
                                  <p:stCondLst>
                                    <p:cond delay="0"/>
                                  </p:stCondLst>
                                  <p:childTnLst>
                                    <p:animMotion origin="layout" path="M -0.00048 2.59259E-6 L -0.64471 2.59259E-6 " pathEditMode="relative" rAng="0" ptsTypes="AA">
                                      <p:cBhvr>
                                        <p:cTn id="6" dur="3600" fill="hold"/>
                                        <p:tgtEl>
                                          <p:spTgt spid="31"/>
                                        </p:tgtEl>
                                        <p:attrNameLst>
                                          <p:attrName>ppt_x</p:attrName>
                                          <p:attrName>ppt_y</p:attrName>
                                        </p:attrNameLst>
                                      </p:cBhvr>
                                      <p:rCtr x="-32212" y="0"/>
                                    </p:animMotion>
                                  </p:childTnLst>
                                </p:cTn>
                              </p:par>
                              <p:par>
                                <p:cTn id="7" presetID="42" presetClass="path" presetSubtype="0" accel="50000" decel="50000" fill="hold" grpId="0" nodeType="withEffect">
                                  <p:stCondLst>
                                    <p:cond delay="500"/>
                                  </p:stCondLst>
                                  <p:childTnLst>
                                    <p:animMotion origin="layout" path="M -0.00112 2.59259E-6 L 0.13542 2.59259E-6 " pathEditMode="relative" rAng="0" ptsTypes="AA">
                                      <p:cBhvr>
                                        <p:cTn id="8" dur="2000" fill="hold"/>
                                        <p:tgtEl>
                                          <p:spTgt spid="26"/>
                                        </p:tgtEl>
                                        <p:attrNameLst>
                                          <p:attrName>ppt_x</p:attrName>
                                          <p:attrName>ppt_y</p:attrName>
                                        </p:attrNameLst>
                                      </p:cBhvr>
                                      <p:rCtr x="6827" y="0"/>
                                    </p:animMotion>
                                  </p:childTnLst>
                                </p:cTn>
                              </p:par>
                              <p:par>
                                <p:cTn id="9" presetID="42" presetClass="path" presetSubtype="0" accel="50000" decel="50000" fill="hold" grpId="0" nodeType="withEffect">
                                  <p:stCondLst>
                                    <p:cond delay="0"/>
                                  </p:stCondLst>
                                  <p:childTnLst>
                                    <p:animMotion origin="layout" path="M -0.00112 2.59259E-6 L 0.12291 2.59259E-6 " pathEditMode="relative" rAng="0" ptsTypes="AA">
                                      <p:cBhvr>
                                        <p:cTn id="10" dur="4600" fill="hold"/>
                                        <p:tgtEl>
                                          <p:spTgt spid="27"/>
                                        </p:tgtEl>
                                        <p:attrNameLst>
                                          <p:attrName>ppt_x</p:attrName>
                                          <p:attrName>ppt_y</p:attrName>
                                        </p:attrNameLst>
                                      </p:cBhvr>
                                      <p:rCtr x="6202" y="0"/>
                                    </p:animMotion>
                                  </p:childTnLst>
                                </p:cTn>
                              </p:par>
                              <p:par>
                                <p:cTn id="11" presetID="42" presetClass="path" presetSubtype="0" accel="50000" decel="50000" fill="hold" grpId="0" nodeType="withEffect">
                                  <p:stCondLst>
                                    <p:cond delay="1600"/>
                                  </p:stCondLst>
                                  <p:childTnLst>
                                    <p:animMotion origin="layout" path="M 0.00096 2.59259E-6 L 0.38558 2.59259E-6 " pathEditMode="relative" rAng="0" ptsTypes="AA">
                                      <p:cBhvr>
                                        <p:cTn id="12" dur="2000" fill="hold"/>
                                        <p:tgtEl>
                                          <p:spTgt spid="28"/>
                                        </p:tgtEl>
                                        <p:attrNameLst>
                                          <p:attrName>ppt_x</p:attrName>
                                          <p:attrName>ppt_y</p:attrName>
                                        </p:attrNameLst>
                                      </p:cBhvr>
                                      <p:rCtr x="19231" y="0"/>
                                    </p:animMotion>
                                  </p:childTnLst>
                                </p:cTn>
                              </p:par>
                              <p:par>
                                <p:cTn id="13" presetID="10" presetClass="exit" presetSubtype="0" fill="hold" grpId="0" nodeType="withEffect">
                                  <p:stCondLst>
                                    <p:cond delay="1500"/>
                                  </p:stCondLst>
                                  <p:childTnLst>
                                    <p:animEffect transition="out" filter="fade">
                                      <p:cBhvr>
                                        <p:cTn id="14" dur="500"/>
                                        <p:tgtEl>
                                          <p:spTgt spid="43"/>
                                        </p:tgtEl>
                                      </p:cBhvr>
                                    </p:animEffect>
                                    <p:set>
                                      <p:cBhvr>
                                        <p:cTn id="15" dur="1" fill="hold">
                                          <p:stCondLst>
                                            <p:cond delay="499"/>
                                          </p:stCondLst>
                                        </p:cTn>
                                        <p:tgtEl>
                                          <p:spTgt spid="43"/>
                                        </p:tgtEl>
                                        <p:attrNameLst>
                                          <p:attrName>style.visibility</p:attrName>
                                        </p:attrNameLst>
                                      </p:cBhvr>
                                      <p:to>
                                        <p:strVal val="hidden"/>
                                      </p:to>
                                    </p:set>
                                  </p:childTnLst>
                                </p:cTn>
                              </p:par>
                              <p:par>
                                <p:cTn id="16" presetID="10" presetClass="exit" presetSubtype="0" fill="hold" grpId="0" nodeType="withEffect">
                                  <p:stCondLst>
                                    <p:cond delay="1800"/>
                                  </p:stCondLst>
                                  <p:childTnLst>
                                    <p:animEffect transition="out" filter="fade">
                                      <p:cBhvr>
                                        <p:cTn id="17" dur="500"/>
                                        <p:tgtEl>
                                          <p:spTgt spid="42"/>
                                        </p:tgtEl>
                                      </p:cBhvr>
                                    </p:animEffect>
                                    <p:set>
                                      <p:cBhvr>
                                        <p:cTn id="18" dur="1" fill="hold">
                                          <p:stCondLst>
                                            <p:cond delay="499"/>
                                          </p:stCondLst>
                                        </p:cTn>
                                        <p:tgtEl>
                                          <p:spTgt spid="42"/>
                                        </p:tgtEl>
                                        <p:attrNameLst>
                                          <p:attrName>style.visibility</p:attrName>
                                        </p:attrNameLst>
                                      </p:cBhvr>
                                      <p:to>
                                        <p:strVal val="hidden"/>
                                      </p:to>
                                    </p:set>
                                  </p:childTnLst>
                                </p:cTn>
                              </p:par>
                              <p:par>
                                <p:cTn id="19" presetID="10" presetClass="exit" presetSubtype="0" fill="hold" grpId="0" nodeType="withEffect">
                                  <p:stCondLst>
                                    <p:cond delay="1200"/>
                                  </p:stCondLst>
                                  <p:childTnLst>
                                    <p:animEffect transition="out" filter="fade">
                                      <p:cBhvr>
                                        <p:cTn id="20" dur="500"/>
                                        <p:tgtEl>
                                          <p:spTgt spid="41"/>
                                        </p:tgtEl>
                                      </p:cBhvr>
                                    </p:animEffect>
                                    <p:set>
                                      <p:cBhvr>
                                        <p:cTn id="21" dur="1" fill="hold">
                                          <p:stCondLst>
                                            <p:cond delay="499"/>
                                          </p:stCondLst>
                                        </p:cTn>
                                        <p:tgtEl>
                                          <p:spTgt spid="41"/>
                                        </p:tgtEl>
                                        <p:attrNameLst>
                                          <p:attrName>style.visibility</p:attrName>
                                        </p:attrNameLst>
                                      </p:cBhvr>
                                      <p:to>
                                        <p:strVal val="hidden"/>
                                      </p:to>
                                    </p:set>
                                  </p:childTnLst>
                                </p:cTn>
                              </p:par>
                              <p:par>
                                <p:cTn id="22" presetID="42" presetClass="path" presetSubtype="0" accel="50000" decel="50000" fill="hold" grpId="1" nodeType="withEffect">
                                  <p:stCondLst>
                                    <p:cond delay="300"/>
                                  </p:stCondLst>
                                  <p:childTnLst>
                                    <p:animMotion origin="layout" path="M -4.87179E-6 1.48148E-6 L -4.87179E-6 -0.24583 " pathEditMode="relative" rAng="0" ptsTypes="AA">
                                      <p:cBhvr>
                                        <p:cTn id="23" dur="2000" fill="hold"/>
                                        <p:tgtEl>
                                          <p:spTgt spid="41"/>
                                        </p:tgtEl>
                                        <p:attrNameLst>
                                          <p:attrName>ppt_x</p:attrName>
                                          <p:attrName>ppt_y</p:attrName>
                                        </p:attrNameLst>
                                      </p:cBhvr>
                                      <p:rCtr x="0" y="-12292"/>
                                    </p:animMotion>
                                  </p:childTnLst>
                                </p:cTn>
                              </p:par>
                              <p:par>
                                <p:cTn id="24" presetID="42" presetClass="path" presetSubtype="0" accel="50000" decel="50000" fill="hold" grpId="1" nodeType="withEffect">
                                  <p:stCondLst>
                                    <p:cond delay="1100"/>
                                  </p:stCondLst>
                                  <p:childTnLst>
                                    <p:animMotion origin="layout" path="M 4.35897E-6 1.48148E-6 L 4.35897E-6 -0.24167 " pathEditMode="relative" rAng="0" ptsTypes="AA">
                                      <p:cBhvr>
                                        <p:cTn id="25" dur="2000" fill="hold"/>
                                        <p:tgtEl>
                                          <p:spTgt spid="42"/>
                                        </p:tgtEl>
                                        <p:attrNameLst>
                                          <p:attrName>ppt_x</p:attrName>
                                          <p:attrName>ppt_y</p:attrName>
                                        </p:attrNameLst>
                                      </p:cBhvr>
                                      <p:rCtr x="0" y="-12083"/>
                                    </p:animMotion>
                                  </p:childTnLst>
                                </p:cTn>
                              </p:par>
                              <p:par>
                                <p:cTn id="26" presetID="42" presetClass="path" presetSubtype="0" accel="50000" decel="50000" fill="hold" grpId="1" nodeType="withEffect">
                                  <p:stCondLst>
                                    <p:cond delay="700"/>
                                  </p:stCondLst>
                                  <p:childTnLst>
                                    <p:animMotion origin="layout" path="M 7.69231E-7 2.59259E-6 L 7.69231E-7 -0.23889 " pathEditMode="relative" rAng="0" ptsTypes="AA">
                                      <p:cBhvr>
                                        <p:cTn id="27" dur="2000" fill="hold"/>
                                        <p:tgtEl>
                                          <p:spTgt spid="43"/>
                                        </p:tgtEl>
                                        <p:attrNameLst>
                                          <p:attrName>ppt_x</p:attrName>
                                          <p:attrName>ppt_y</p:attrName>
                                        </p:attrNameLst>
                                      </p:cBhvr>
                                      <p:rCtr x="0" y="-11944"/>
                                    </p:animMotion>
                                  </p:childTnLst>
                                </p:cTn>
                              </p:par>
                              <p:par>
                                <p:cTn id="28" presetID="10" presetClass="entr" presetSubtype="0" fill="hold" nodeType="withEffect">
                                  <p:stCondLst>
                                    <p:cond delay="4500"/>
                                  </p:stCondLst>
                                  <p:childTnLst>
                                    <p:set>
                                      <p:cBhvr>
                                        <p:cTn id="29" dur="1" fill="hold">
                                          <p:stCondLst>
                                            <p:cond delay="0"/>
                                          </p:stCondLst>
                                        </p:cTn>
                                        <p:tgtEl>
                                          <p:spTgt spid="34"/>
                                        </p:tgtEl>
                                        <p:attrNameLst>
                                          <p:attrName>style.visibility</p:attrName>
                                        </p:attrNameLst>
                                      </p:cBhvr>
                                      <p:to>
                                        <p:strVal val="visible"/>
                                      </p:to>
                                    </p:set>
                                    <p:animEffect transition="in" filter="fade">
                                      <p:cBhvr>
                                        <p:cTn id="30" dur="500"/>
                                        <p:tgtEl>
                                          <p:spTgt spid="34"/>
                                        </p:tgtEl>
                                      </p:cBhvr>
                                    </p:animEffect>
                                  </p:childTnLst>
                                </p:cTn>
                              </p:par>
                              <p:par>
                                <p:cTn id="31" presetID="10" presetClass="entr" presetSubtype="0" fill="hold" nodeType="withEffect">
                                  <p:stCondLst>
                                    <p:cond delay="4700"/>
                                  </p:stCondLst>
                                  <p:childTnLst>
                                    <p:set>
                                      <p:cBhvr>
                                        <p:cTn id="32" dur="1" fill="hold">
                                          <p:stCondLst>
                                            <p:cond delay="0"/>
                                          </p:stCondLst>
                                        </p:cTn>
                                        <p:tgtEl>
                                          <p:spTgt spid="35"/>
                                        </p:tgtEl>
                                        <p:attrNameLst>
                                          <p:attrName>style.visibility</p:attrName>
                                        </p:attrNameLst>
                                      </p:cBhvr>
                                      <p:to>
                                        <p:strVal val="visible"/>
                                      </p:to>
                                    </p:set>
                                    <p:animEffect transition="in" filter="fade">
                                      <p:cBhvr>
                                        <p:cTn id="33" dur="500"/>
                                        <p:tgtEl>
                                          <p:spTgt spid="35"/>
                                        </p:tgtEl>
                                      </p:cBhvr>
                                    </p:animEffect>
                                  </p:childTnLst>
                                </p:cTn>
                              </p:par>
                              <p:par>
                                <p:cTn id="34" presetID="10" presetClass="entr" presetSubtype="0" fill="hold" nodeType="withEffect">
                                  <p:stCondLst>
                                    <p:cond delay="4900"/>
                                  </p:stCondLst>
                                  <p:childTnLst>
                                    <p:set>
                                      <p:cBhvr>
                                        <p:cTn id="35" dur="1" fill="hold">
                                          <p:stCondLst>
                                            <p:cond delay="0"/>
                                          </p:stCondLst>
                                        </p:cTn>
                                        <p:tgtEl>
                                          <p:spTgt spid="36"/>
                                        </p:tgtEl>
                                        <p:attrNameLst>
                                          <p:attrName>style.visibility</p:attrName>
                                        </p:attrNameLst>
                                      </p:cBhvr>
                                      <p:to>
                                        <p:strVal val="visible"/>
                                      </p:to>
                                    </p:set>
                                    <p:animEffect transition="in" filter="fade">
                                      <p:cBhvr>
                                        <p:cTn id="36" dur="500"/>
                                        <p:tgtEl>
                                          <p:spTgt spid="36"/>
                                        </p:tgtEl>
                                      </p:cBhvr>
                                    </p:animEffect>
                                  </p:childTnLst>
                                </p:cTn>
                              </p:par>
                              <p:par>
                                <p:cTn id="37" presetID="10" presetClass="entr" presetSubtype="0" fill="hold" nodeType="withEffect">
                                  <p:stCondLst>
                                    <p:cond delay="5100"/>
                                  </p:stCondLst>
                                  <p:childTnLst>
                                    <p:set>
                                      <p:cBhvr>
                                        <p:cTn id="38" dur="1" fill="hold">
                                          <p:stCondLst>
                                            <p:cond delay="0"/>
                                          </p:stCondLst>
                                        </p:cTn>
                                        <p:tgtEl>
                                          <p:spTgt spid="37"/>
                                        </p:tgtEl>
                                        <p:attrNameLst>
                                          <p:attrName>style.visibility</p:attrName>
                                        </p:attrNameLst>
                                      </p:cBhvr>
                                      <p:to>
                                        <p:strVal val="visible"/>
                                      </p:to>
                                    </p:set>
                                    <p:animEffect transition="in" filter="fade">
                                      <p:cBhvr>
                                        <p:cTn id="39" dur="500"/>
                                        <p:tgtEl>
                                          <p:spTgt spid="37"/>
                                        </p:tgtEl>
                                      </p:cBhvr>
                                    </p:animEffect>
                                  </p:childTnLst>
                                </p:cTn>
                              </p:par>
                              <p:par>
                                <p:cTn id="40" presetID="10" presetClass="entr" presetSubtype="0" fill="hold" nodeType="withEffect">
                                  <p:stCondLst>
                                    <p:cond delay="530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childTnLst>
                                </p:cTn>
                              </p:par>
                              <p:par>
                                <p:cTn id="43" presetID="10" presetClass="entr" presetSubtype="0" fill="hold" nodeType="withEffect">
                                  <p:stCondLst>
                                    <p:cond delay="5500"/>
                                  </p:stCondLst>
                                  <p:childTnLst>
                                    <p:set>
                                      <p:cBhvr>
                                        <p:cTn id="44" dur="1" fill="hold">
                                          <p:stCondLst>
                                            <p:cond delay="0"/>
                                          </p:stCondLst>
                                        </p:cTn>
                                        <p:tgtEl>
                                          <p:spTgt spid="39"/>
                                        </p:tgtEl>
                                        <p:attrNameLst>
                                          <p:attrName>style.visibility</p:attrName>
                                        </p:attrNameLst>
                                      </p:cBhvr>
                                      <p:to>
                                        <p:strVal val="visible"/>
                                      </p:to>
                                    </p:set>
                                    <p:animEffect transition="in" filter="fade">
                                      <p:cBhvr>
                                        <p:cTn id="45" dur="500"/>
                                        <p:tgtEl>
                                          <p:spTgt spid="39"/>
                                        </p:tgtEl>
                                      </p:cBhvr>
                                    </p:animEffect>
                                  </p:childTnLst>
                                </p:cTn>
                              </p:par>
                              <p:par>
                                <p:cTn id="46" presetID="10" presetClass="entr" presetSubtype="0" fill="hold" nodeType="withEffect">
                                  <p:stCondLst>
                                    <p:cond delay="570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31" grpId="0" animBg="1"/>
      <p:bldP spid="41" grpId="0"/>
      <p:bldP spid="41" grpId="1"/>
      <p:bldP spid="42" grpId="0"/>
      <p:bldP spid="42" grpId="1"/>
      <p:bldP spid="43" grpId="0"/>
      <p:bldP spid="43"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31</a:t>
            </a:fld>
            <a:endParaRPr lang="de-DE" dirty="0"/>
          </a:p>
        </p:txBody>
      </p:sp>
      <p:sp>
        <p:nvSpPr>
          <p:cNvPr id="4" name="Rechteck 2"/>
          <p:cNvSpPr/>
          <p:nvPr/>
        </p:nvSpPr>
        <p:spPr>
          <a:xfrm>
            <a:off x="707672" y="1619191"/>
            <a:ext cx="8437969" cy="496996"/>
          </a:xfrm>
          <a:prstGeom prst="rect">
            <a:avLst/>
          </a:prstGeom>
        </p:spPr>
        <p:txBody>
          <a:bodyPr wrap="square">
            <a:spAutoFit/>
          </a:bodyPr>
          <a:lstStyle/>
          <a:p>
            <a:pPr>
              <a:lnSpc>
                <a:spcPts val="3600"/>
              </a:lnSpc>
            </a:pPr>
            <a:endParaRPr lang="en-US" sz="2000" dirty="0" smtClean="0">
              <a:solidFill>
                <a:schemeClr val="accent2"/>
              </a:solidFill>
            </a:endParaRPr>
          </a:p>
        </p:txBody>
      </p:sp>
      <p:pic>
        <p:nvPicPr>
          <p:cNvPr id="7" name="Picture 6"/>
          <p:cNvPicPr>
            <a:picLocks noChangeAspect="1"/>
          </p:cNvPicPr>
          <p:nvPr/>
        </p:nvPicPr>
        <p:blipFill>
          <a:blip r:embed="rId2"/>
          <a:stretch>
            <a:fillRect/>
          </a:stretch>
        </p:blipFill>
        <p:spPr>
          <a:xfrm>
            <a:off x="5300622" y="2387615"/>
            <a:ext cx="2791071" cy="3800608"/>
          </a:xfrm>
          <a:prstGeom prst="rect">
            <a:avLst/>
          </a:prstGeom>
          <a:ln>
            <a:solidFill>
              <a:schemeClr val="tx1"/>
            </a:solidFill>
          </a:ln>
        </p:spPr>
      </p:pic>
      <p:pic>
        <p:nvPicPr>
          <p:cNvPr id="8" name="Picture 7"/>
          <p:cNvPicPr>
            <a:picLocks noChangeAspect="1"/>
          </p:cNvPicPr>
          <p:nvPr/>
        </p:nvPicPr>
        <p:blipFill>
          <a:blip r:embed="rId3"/>
          <a:stretch>
            <a:fillRect/>
          </a:stretch>
        </p:blipFill>
        <p:spPr>
          <a:xfrm>
            <a:off x="357187" y="1238584"/>
            <a:ext cx="8788454" cy="1083758"/>
          </a:xfrm>
          <a:prstGeom prst="rect">
            <a:avLst/>
          </a:prstGeom>
        </p:spPr>
      </p:pic>
      <p:pic>
        <p:nvPicPr>
          <p:cNvPr id="10" name="Picture 9"/>
          <p:cNvPicPr>
            <a:picLocks noChangeAspect="1"/>
          </p:cNvPicPr>
          <p:nvPr/>
        </p:nvPicPr>
        <p:blipFill>
          <a:blip r:embed="rId4"/>
          <a:stretch>
            <a:fillRect/>
          </a:stretch>
        </p:blipFill>
        <p:spPr>
          <a:xfrm>
            <a:off x="357187" y="1323916"/>
            <a:ext cx="4152900" cy="295275"/>
          </a:xfrm>
          <a:prstGeom prst="rect">
            <a:avLst/>
          </a:prstGeom>
        </p:spPr>
      </p:pic>
      <p:pic>
        <p:nvPicPr>
          <p:cNvPr id="11" name="Picture 10"/>
          <p:cNvPicPr>
            <a:picLocks noChangeAspect="1"/>
          </p:cNvPicPr>
          <p:nvPr/>
        </p:nvPicPr>
        <p:blipFill>
          <a:blip r:embed="rId3"/>
          <a:stretch>
            <a:fillRect/>
          </a:stretch>
        </p:blipFill>
        <p:spPr>
          <a:xfrm>
            <a:off x="357187" y="1219619"/>
            <a:ext cx="8788454" cy="1083758"/>
          </a:xfrm>
          <a:prstGeom prst="rect">
            <a:avLst/>
          </a:prstGeom>
        </p:spPr>
      </p:pic>
      <p:pic>
        <p:nvPicPr>
          <p:cNvPr id="12" name="Picture 11"/>
          <p:cNvPicPr>
            <a:picLocks noChangeAspect="1"/>
          </p:cNvPicPr>
          <p:nvPr/>
        </p:nvPicPr>
        <p:blipFill>
          <a:blip r:embed="rId5"/>
          <a:stretch>
            <a:fillRect/>
          </a:stretch>
        </p:blipFill>
        <p:spPr>
          <a:xfrm>
            <a:off x="357187" y="1955960"/>
            <a:ext cx="5754053" cy="401233"/>
          </a:xfrm>
          <a:prstGeom prst="rect">
            <a:avLst/>
          </a:prstGeom>
        </p:spPr>
      </p:pic>
      <p:sp>
        <p:nvSpPr>
          <p:cNvPr id="13" name="TextBox 12"/>
          <p:cNvSpPr txBox="1"/>
          <p:nvPr/>
        </p:nvSpPr>
        <p:spPr>
          <a:xfrm>
            <a:off x="755790" y="2944107"/>
            <a:ext cx="4306288" cy="2585323"/>
          </a:xfrm>
          <a:prstGeom prst="rect">
            <a:avLst/>
          </a:prstGeom>
          <a:noFill/>
        </p:spPr>
        <p:txBody>
          <a:bodyPr wrap="square" rtlCol="0">
            <a:spAutoFit/>
          </a:bodyPr>
          <a:lstStyle/>
          <a:p>
            <a:r>
              <a:rPr lang="en-GB" dirty="0" smtClean="0">
                <a:solidFill>
                  <a:schemeClr val="tx2"/>
                </a:solidFill>
              </a:rPr>
              <a:t>Declaration of Rights and Principles to Transform Scholarly Communications</a:t>
            </a:r>
          </a:p>
          <a:p>
            <a:endParaRPr lang="en-GB" dirty="0">
              <a:solidFill>
                <a:schemeClr val="tx2"/>
              </a:solidFill>
            </a:endParaRPr>
          </a:p>
          <a:p>
            <a:r>
              <a:rPr lang="en-US" dirty="0">
                <a:solidFill>
                  <a:schemeClr val="tx2"/>
                </a:solidFill>
              </a:rPr>
              <a:t>Championing Change in Journal Negotiations</a:t>
            </a:r>
          </a:p>
          <a:p>
            <a:endParaRPr lang="en-GB" dirty="0" smtClean="0">
              <a:solidFill>
                <a:schemeClr val="tx2"/>
              </a:solidFill>
            </a:endParaRPr>
          </a:p>
          <a:p>
            <a:r>
              <a:rPr lang="en-US" dirty="0">
                <a:solidFill>
                  <a:schemeClr val="tx2"/>
                </a:solidFill>
              </a:rPr>
              <a:t>Negotiating Journal Agreements at UC:  A Call to Action</a:t>
            </a:r>
          </a:p>
          <a:p>
            <a:endParaRPr lang="en-GB" dirty="0">
              <a:solidFill>
                <a:schemeClr val="tx2"/>
              </a:solidFill>
            </a:endParaRPr>
          </a:p>
        </p:txBody>
      </p:sp>
      <p:sp>
        <p:nvSpPr>
          <p:cNvPr id="14" name="Rectangle 13"/>
          <p:cNvSpPr/>
          <p:nvPr/>
        </p:nvSpPr>
        <p:spPr>
          <a:xfrm>
            <a:off x="432434" y="6188222"/>
            <a:ext cx="4953000" cy="523220"/>
          </a:xfrm>
          <a:prstGeom prst="rect">
            <a:avLst/>
          </a:prstGeom>
        </p:spPr>
        <p:txBody>
          <a:bodyPr>
            <a:spAutoFit/>
          </a:bodyPr>
          <a:lstStyle/>
          <a:p>
            <a:r>
              <a:rPr lang="en-GB" sz="1400" dirty="0">
                <a:hlinkClick r:id="rId6"/>
              </a:rPr>
              <a:t>https://osc.universityofcalifornia.edu/2018/06/championing-change-in-journal-negotiations</a:t>
            </a:r>
            <a:r>
              <a:rPr lang="en-GB" sz="1400" dirty="0" smtClean="0">
                <a:hlinkClick r:id="rId6"/>
              </a:rPr>
              <a:t>/</a:t>
            </a:r>
            <a:r>
              <a:rPr lang="en-GB" sz="1400" dirty="0" smtClean="0"/>
              <a:t> </a:t>
            </a:r>
            <a:endParaRPr lang="en-GB" sz="1400" dirty="0"/>
          </a:p>
        </p:txBody>
      </p:sp>
      <p:sp>
        <p:nvSpPr>
          <p:cNvPr id="33"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Engage</a:t>
            </a:r>
            <a:r>
              <a:rPr lang="de-DE" sz="3600" b="1" dirty="0" smtClean="0">
                <a:solidFill>
                  <a:schemeClr val="accent6"/>
                </a:solidFill>
              </a:rPr>
              <a:t> </a:t>
            </a:r>
            <a:r>
              <a:rPr lang="de-DE" sz="3600" b="1" dirty="0" err="1" smtClean="0">
                <a:solidFill>
                  <a:schemeClr val="accent6"/>
                </a:solidFill>
              </a:rPr>
              <a:t>stakeholder</a:t>
            </a:r>
            <a:r>
              <a:rPr lang="de-DE" sz="3600" b="1" dirty="0" smtClean="0">
                <a:solidFill>
                  <a:schemeClr val="accent6"/>
                </a:solidFill>
              </a:rPr>
              <a:t> at all </a:t>
            </a:r>
            <a:r>
              <a:rPr lang="de-DE" sz="3600" b="1" dirty="0" err="1" smtClean="0">
                <a:solidFill>
                  <a:schemeClr val="accent6"/>
                </a:solidFill>
              </a:rPr>
              <a:t>levels</a:t>
            </a:r>
            <a:endParaRPr lang="de-DE" sz="3600" dirty="0"/>
          </a:p>
        </p:txBody>
      </p:sp>
    </p:spTree>
    <p:extLst>
      <p:ext uri="{BB962C8B-B14F-4D97-AF65-F5344CB8AC3E}">
        <p14:creationId xmlns:p14="http://schemas.microsoft.com/office/powerpoint/2010/main" val="159104527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AD1E780-DE1C-4ECA-B5E5-863D0BC53287}" type="slidenum">
              <a:rPr lang="de-DE" smtClean="0"/>
              <a:pPr/>
              <a:t>32</a:t>
            </a:fld>
            <a:endParaRPr lang="de-DE" dirty="0"/>
          </a:p>
        </p:txBody>
      </p:sp>
      <p:sp>
        <p:nvSpPr>
          <p:cNvPr id="5" name="Textplatzhalter 2"/>
          <p:cNvSpPr txBox="1">
            <a:spLocks/>
          </p:cNvSpPr>
          <p:nvPr/>
        </p:nvSpPr>
        <p:spPr>
          <a:xfrm>
            <a:off x="240195" y="390768"/>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Invest</a:t>
            </a:r>
            <a:r>
              <a:rPr lang="de-DE" sz="3600" b="1" dirty="0" smtClean="0">
                <a:solidFill>
                  <a:schemeClr val="accent6"/>
                </a:solidFill>
              </a:rPr>
              <a:t> in open </a:t>
            </a:r>
            <a:r>
              <a:rPr lang="de-DE" sz="3600" b="1" dirty="0" err="1" smtClean="0">
                <a:solidFill>
                  <a:schemeClr val="accent6"/>
                </a:solidFill>
              </a:rPr>
              <a:t>access</a:t>
            </a:r>
            <a:endParaRPr lang="de-DE" sz="3600" dirty="0"/>
          </a:p>
        </p:txBody>
      </p:sp>
      <p:pic>
        <p:nvPicPr>
          <p:cNvPr id="6" name="Grafik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29156" y="4003744"/>
            <a:ext cx="1237150" cy="874311"/>
          </a:xfrm>
          <a:prstGeom prst="rect">
            <a:avLst/>
          </a:prstGeom>
        </p:spPr>
      </p:pic>
      <p:pic>
        <p:nvPicPr>
          <p:cNvPr id="7" name="Grafi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80346" y="3220877"/>
            <a:ext cx="602451" cy="602451"/>
          </a:xfrm>
          <a:prstGeom prst="rect">
            <a:avLst/>
          </a:prstGeom>
        </p:spPr>
      </p:pic>
      <p:pic>
        <p:nvPicPr>
          <p:cNvPr id="8" name="Grafik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70919" y="5411966"/>
            <a:ext cx="1191161" cy="402418"/>
          </a:xfrm>
          <a:prstGeom prst="rect">
            <a:avLst/>
          </a:prstGeom>
        </p:spPr>
      </p:pic>
      <p:pic>
        <p:nvPicPr>
          <p:cNvPr id="9" name="Grafik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61668" y="4047583"/>
            <a:ext cx="1156484" cy="530881"/>
          </a:xfrm>
          <a:prstGeom prst="rect">
            <a:avLst/>
          </a:prstGeom>
        </p:spPr>
      </p:pic>
      <p:pic>
        <p:nvPicPr>
          <p:cNvPr id="10" name="Grafik 3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67770" y="3136745"/>
            <a:ext cx="765179" cy="656683"/>
          </a:xfrm>
          <a:prstGeom prst="rect">
            <a:avLst/>
          </a:prstGeom>
        </p:spPr>
      </p:pic>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27869" y="4766072"/>
            <a:ext cx="809625" cy="771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81070" y="3285768"/>
            <a:ext cx="962823" cy="3806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82932" y="4033644"/>
            <a:ext cx="1146224" cy="6239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hteck 48"/>
          <p:cNvSpPr/>
          <p:nvPr/>
        </p:nvSpPr>
        <p:spPr>
          <a:xfrm>
            <a:off x="5577239" y="5770480"/>
            <a:ext cx="825446" cy="11315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6" name="Grafik 3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85089" y="5344131"/>
            <a:ext cx="1876311" cy="470253"/>
          </a:xfrm>
          <a:prstGeom prst="rect">
            <a:avLst/>
          </a:prstGeom>
        </p:spPr>
      </p:pic>
      <p:pic>
        <p:nvPicPr>
          <p:cNvPr id="17" name="Picture 16"/>
          <p:cNvPicPr>
            <a:picLocks noChangeAspect="1"/>
          </p:cNvPicPr>
          <p:nvPr/>
        </p:nvPicPr>
        <p:blipFill>
          <a:blip r:embed="rId11"/>
          <a:stretch>
            <a:fillRect/>
          </a:stretch>
        </p:blipFill>
        <p:spPr>
          <a:xfrm>
            <a:off x="7354454" y="4900351"/>
            <a:ext cx="1863671" cy="417719"/>
          </a:xfrm>
          <a:prstGeom prst="rect">
            <a:avLst/>
          </a:prstGeom>
        </p:spPr>
      </p:pic>
      <p:pic>
        <p:nvPicPr>
          <p:cNvPr id="18" name="Picture 17"/>
          <p:cNvPicPr>
            <a:picLocks noChangeAspect="1"/>
          </p:cNvPicPr>
          <p:nvPr/>
        </p:nvPicPr>
        <p:blipFill>
          <a:blip r:embed="rId12"/>
          <a:stretch>
            <a:fillRect/>
          </a:stretch>
        </p:blipFill>
        <p:spPr>
          <a:xfrm>
            <a:off x="6524355" y="3290893"/>
            <a:ext cx="609601" cy="504825"/>
          </a:xfrm>
          <a:prstGeom prst="rect">
            <a:avLst/>
          </a:prstGeom>
        </p:spPr>
      </p:pic>
      <p:pic>
        <p:nvPicPr>
          <p:cNvPr id="19" name="Grafik 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33793" y="1339667"/>
            <a:ext cx="3089978" cy="724685"/>
          </a:xfrm>
          <a:prstGeom prst="rect">
            <a:avLst/>
          </a:prstGeom>
        </p:spPr>
      </p:pic>
      <p:pic>
        <p:nvPicPr>
          <p:cNvPr id="20" name="Picture 19"/>
          <p:cNvPicPr>
            <a:picLocks noChangeAspect="1"/>
          </p:cNvPicPr>
          <p:nvPr/>
        </p:nvPicPr>
        <p:blipFill>
          <a:blip r:embed="rId14"/>
          <a:stretch>
            <a:fillRect/>
          </a:stretch>
        </p:blipFill>
        <p:spPr>
          <a:xfrm>
            <a:off x="533793" y="2178856"/>
            <a:ext cx="8397649" cy="869218"/>
          </a:xfrm>
          <a:prstGeom prst="rect">
            <a:avLst/>
          </a:prstGeom>
        </p:spPr>
      </p:pic>
    </p:spTree>
    <p:extLst>
      <p:ext uri="{BB962C8B-B14F-4D97-AF65-F5344CB8AC3E}">
        <p14:creationId xmlns:p14="http://schemas.microsoft.com/office/powerpoint/2010/main" val="311094388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33</a:t>
            </a:fld>
            <a:endParaRPr lang="de-DE" dirty="0"/>
          </a:p>
        </p:txBody>
      </p:sp>
      <p:sp>
        <p:nvSpPr>
          <p:cNvPr id="5"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Transformative </a:t>
            </a:r>
            <a:r>
              <a:rPr lang="de-DE" sz="3600" b="1" dirty="0" err="1" smtClean="0">
                <a:solidFill>
                  <a:schemeClr val="accent6"/>
                </a:solidFill>
              </a:rPr>
              <a:t>agreements</a:t>
            </a:r>
            <a:endParaRPr lang="de-DE" sz="3600" dirty="0"/>
          </a:p>
        </p:txBody>
      </p:sp>
      <p:sp>
        <p:nvSpPr>
          <p:cNvPr id="4" name="Inhaltsplatzhalter 8"/>
          <p:cNvSpPr txBox="1">
            <a:spLocks/>
          </p:cNvSpPr>
          <p:nvPr/>
        </p:nvSpPr>
        <p:spPr>
          <a:xfrm>
            <a:off x="4315517" y="4150914"/>
            <a:ext cx="970167" cy="1477328"/>
          </a:xfrm>
          <a:prstGeom prst="rect">
            <a:avLst/>
          </a:prstGeom>
          <a:noFill/>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de-DE" sz="9600" dirty="0" smtClean="0">
                <a:solidFill>
                  <a:schemeClr val="accent2"/>
                </a:solidFill>
              </a:rPr>
              <a:t>+</a:t>
            </a:r>
            <a:endParaRPr lang="de-DE" sz="9600" dirty="0">
              <a:solidFill>
                <a:schemeClr val="accent2"/>
              </a:solidFill>
            </a:endParaRPr>
          </a:p>
        </p:txBody>
      </p:sp>
      <p:grpSp>
        <p:nvGrpSpPr>
          <p:cNvPr id="6" name="Gruppieren 1"/>
          <p:cNvGrpSpPr/>
          <p:nvPr/>
        </p:nvGrpSpPr>
        <p:grpSpPr>
          <a:xfrm>
            <a:off x="2866804" y="1841729"/>
            <a:ext cx="1372671" cy="3894250"/>
            <a:chOff x="2866804" y="1841729"/>
            <a:chExt cx="1372671" cy="3894250"/>
          </a:xfrm>
        </p:grpSpPr>
        <p:pic>
          <p:nvPicPr>
            <p:cNvPr id="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34033"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295095"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656158"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16625" y="321703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482577" y="321703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77895"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338957"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00020"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60487" y="235882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526439" y="235882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34033"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295095"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656158"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16625"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482577"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77895"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338957"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00020"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60487" y="407292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526439" y="407292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Rechteck 5"/>
            <p:cNvSpPr/>
            <p:nvPr/>
          </p:nvSpPr>
          <p:spPr>
            <a:xfrm>
              <a:off x="2875312" y="1841729"/>
              <a:ext cx="1226054" cy="357187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tx1"/>
                </a:solidFill>
              </a:endParaRPr>
            </a:p>
          </p:txBody>
        </p:sp>
        <p:pic>
          <p:nvPicPr>
            <p:cNvPr id="28" name="Grafik 13"/>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3201598" y="4411249"/>
              <a:ext cx="556741" cy="865555"/>
            </a:xfrm>
            <a:prstGeom prst="rect">
              <a:avLst/>
            </a:prstGeom>
          </p:spPr>
        </p:pic>
        <p:sp>
          <p:nvSpPr>
            <p:cNvPr id="29" name="Inhaltsplatzhalter 8"/>
            <p:cNvSpPr txBox="1">
              <a:spLocks/>
            </p:cNvSpPr>
            <p:nvPr/>
          </p:nvSpPr>
          <p:spPr>
            <a:xfrm>
              <a:off x="2866804" y="5520535"/>
              <a:ext cx="1372671"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solidFill>
                    <a:schemeClr val="accent6"/>
                  </a:solidFill>
                </a:rPr>
                <a:t>Subscriptions</a:t>
              </a:r>
            </a:p>
          </p:txBody>
        </p:sp>
      </p:grpSp>
      <p:grpSp>
        <p:nvGrpSpPr>
          <p:cNvPr id="30" name="Gruppieren 2"/>
          <p:cNvGrpSpPr/>
          <p:nvPr/>
        </p:nvGrpSpPr>
        <p:grpSpPr>
          <a:xfrm>
            <a:off x="5428732" y="4269527"/>
            <a:ext cx="1377425" cy="1466452"/>
            <a:chOff x="5428732" y="4269527"/>
            <a:chExt cx="1377425" cy="1466452"/>
          </a:xfrm>
        </p:grpSpPr>
        <p:pic>
          <p:nvPicPr>
            <p:cNvPr id="3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603792"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964854"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6325917"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786384" y="49335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6152336" y="49335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echteck 83"/>
            <p:cNvSpPr/>
            <p:nvPr/>
          </p:nvSpPr>
          <p:spPr>
            <a:xfrm>
              <a:off x="5495407" y="4269527"/>
              <a:ext cx="1226054" cy="1144078"/>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37" name="Picture 4" descr="\\psf\Host\Volumes\Kerstin 2014\20141213\_Kerstin_141312\_form und glanz\Kunden\MPG_MPDL\18_Logo ESAC\220px-Open_Access_logo_PLoS_white.png"/>
            <p:cNvPicPr>
              <a:picLocks noChangeAspect="1" noChangeArrowheads="1"/>
            </p:cNvPicPr>
            <p:nvPr/>
          </p:nvPicPr>
          <p:blipFill>
            <a:blip r:embed="rId5"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5835349" y="4414560"/>
              <a:ext cx="546170" cy="854012"/>
            </a:xfrm>
            <a:prstGeom prst="rect">
              <a:avLst/>
            </a:prstGeom>
            <a:noFill/>
            <a:extLst>
              <a:ext uri="{909E8E84-426E-40DD-AFC4-6F175D3DCCD1}">
                <a14:hiddenFill xmlns:a14="http://schemas.microsoft.com/office/drawing/2010/main">
                  <a:solidFill>
                    <a:srgbClr val="FFFFFF"/>
                  </a:solidFill>
                </a14:hiddenFill>
              </a:ext>
            </a:extLst>
          </p:spPr>
        </p:pic>
        <p:sp>
          <p:nvSpPr>
            <p:cNvPr id="38" name="Inhaltsplatzhalter 8"/>
            <p:cNvSpPr txBox="1">
              <a:spLocks/>
            </p:cNvSpPr>
            <p:nvPr/>
          </p:nvSpPr>
          <p:spPr>
            <a:xfrm>
              <a:off x="5428732" y="5520535"/>
              <a:ext cx="1377425"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de-DE" sz="1400" b="1" dirty="0" smtClean="0">
                  <a:solidFill>
                    <a:schemeClr val="accent4"/>
                  </a:solidFill>
                </a:rPr>
                <a:t>Open </a:t>
              </a:r>
              <a:r>
                <a:rPr lang="en-US" sz="1400" b="1" dirty="0" smtClean="0">
                  <a:solidFill>
                    <a:schemeClr val="accent4"/>
                  </a:solidFill>
                </a:rPr>
                <a:t>access</a:t>
              </a:r>
              <a:endParaRPr lang="en-US" sz="1400" b="1" dirty="0">
                <a:solidFill>
                  <a:schemeClr val="accent4"/>
                </a:solidFill>
              </a:endParaRPr>
            </a:p>
          </p:txBody>
        </p:sp>
      </p:grpSp>
      <p:sp>
        <p:nvSpPr>
          <p:cNvPr id="39" name="Rechteck 57"/>
          <p:cNvSpPr/>
          <p:nvPr/>
        </p:nvSpPr>
        <p:spPr>
          <a:xfrm>
            <a:off x="3503220" y="1451204"/>
            <a:ext cx="2921330" cy="443895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Tree>
    <p:extLst>
      <p:ext uri="{BB962C8B-B14F-4D97-AF65-F5344CB8AC3E}">
        <p14:creationId xmlns:p14="http://schemas.microsoft.com/office/powerpoint/2010/main" val="308881505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34</a:t>
            </a:fld>
            <a:endParaRPr lang="de-DE" dirty="0"/>
          </a:p>
        </p:txBody>
      </p:sp>
      <p:sp>
        <p:nvSpPr>
          <p:cNvPr id="5"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a:solidFill>
                  <a:schemeClr val="accent6"/>
                </a:solidFill>
              </a:rPr>
              <a:t>Transformative </a:t>
            </a:r>
            <a:r>
              <a:rPr lang="de-DE" sz="3600" b="1" dirty="0" err="1">
                <a:solidFill>
                  <a:schemeClr val="accent6"/>
                </a:solidFill>
              </a:rPr>
              <a:t>agreements</a:t>
            </a:r>
            <a:endParaRPr lang="de-DE" sz="3600" dirty="0"/>
          </a:p>
        </p:txBody>
      </p:sp>
      <p:cxnSp>
        <p:nvCxnSpPr>
          <p:cNvPr id="40" name="Gerade Verbindung 53"/>
          <p:cNvCxnSpPr/>
          <p:nvPr/>
        </p:nvCxnSpPr>
        <p:spPr>
          <a:xfrm>
            <a:off x="2495022" y="4307844"/>
            <a:ext cx="123557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1" name="Gerade Verbindung 55"/>
          <p:cNvCxnSpPr/>
          <p:nvPr/>
        </p:nvCxnSpPr>
        <p:spPr>
          <a:xfrm>
            <a:off x="1244094" y="1879015"/>
            <a:ext cx="123557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Rechteck 56"/>
          <p:cNvSpPr/>
          <p:nvPr/>
        </p:nvSpPr>
        <p:spPr>
          <a:xfrm>
            <a:off x="1245777" y="1879308"/>
            <a:ext cx="1226054" cy="357187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3" name="Rechteck 58"/>
          <p:cNvSpPr/>
          <p:nvPr/>
        </p:nvSpPr>
        <p:spPr>
          <a:xfrm>
            <a:off x="2498723" y="4306813"/>
            <a:ext cx="1226054" cy="1144078"/>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4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303350" y="284933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664412" y="284933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025475" y="284933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485942" y="325460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851894" y="325460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347212" y="199113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708274" y="199113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069337" y="199113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529804" y="239640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895756" y="239640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303350" y="456344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664412" y="456344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025475" y="456344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485942" y="496871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851894" y="496871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347212" y="3705237"/>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708274" y="3705237"/>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069337" y="3705237"/>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529804" y="4110507"/>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1895756" y="4110507"/>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4" name="Grafik 13"/>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1570915" y="4448827"/>
            <a:ext cx="556741" cy="865555"/>
          </a:xfrm>
          <a:prstGeom prst="rect">
            <a:avLst/>
          </a:prstGeom>
        </p:spPr>
      </p:pic>
      <p:pic>
        <p:nvPicPr>
          <p:cNvPr id="6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607122" y="456584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68184" y="456584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329247" y="456584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789714" y="497111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55666" y="497111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 name="Picture 4" descr="\\psf\Host\Volumes\Kerstin 2014\20141213\_Kerstin_141312\_form und glanz\Kunden\MPG_MPDL\18_Logo ESAC\220px-Open_Access_logo_PLoS_white.png"/>
          <p:cNvPicPr>
            <a:picLocks noChangeAspect="1" noChangeArrowheads="1"/>
          </p:cNvPicPr>
          <p:nvPr/>
        </p:nvPicPr>
        <p:blipFill>
          <a:blip r:embed="rId5"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2838679" y="4452138"/>
            <a:ext cx="546170" cy="854012"/>
          </a:xfrm>
          <a:prstGeom prst="rect">
            <a:avLst/>
          </a:prstGeom>
          <a:noFill/>
          <a:extLst>
            <a:ext uri="{909E8E84-426E-40DD-AFC4-6F175D3DCCD1}">
              <a14:hiddenFill xmlns:a14="http://schemas.microsoft.com/office/drawing/2010/main">
                <a:solidFill>
                  <a:srgbClr val="FFFFFF"/>
                </a:solidFill>
              </a14:hiddenFill>
            </a:ext>
          </a:extLst>
        </p:spPr>
      </p:pic>
      <p:sp>
        <p:nvSpPr>
          <p:cNvPr id="71" name="Inhaltsplatzhalter 8"/>
          <p:cNvSpPr txBox="1">
            <a:spLocks/>
          </p:cNvSpPr>
          <p:nvPr/>
        </p:nvSpPr>
        <p:spPr>
          <a:xfrm>
            <a:off x="1236121" y="5558113"/>
            <a:ext cx="1372671"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solidFill>
                  <a:schemeClr val="accent6"/>
                </a:solidFill>
              </a:rPr>
              <a:t>Subscriptions</a:t>
            </a:r>
          </a:p>
        </p:txBody>
      </p:sp>
      <p:sp>
        <p:nvSpPr>
          <p:cNvPr id="72" name="Inhaltsplatzhalter 8"/>
          <p:cNvSpPr txBox="1">
            <a:spLocks/>
          </p:cNvSpPr>
          <p:nvPr/>
        </p:nvSpPr>
        <p:spPr>
          <a:xfrm>
            <a:off x="2432062" y="5558113"/>
            <a:ext cx="1377425"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de-DE" sz="1400" b="1" dirty="0" smtClean="0">
                <a:solidFill>
                  <a:schemeClr val="accent4"/>
                </a:solidFill>
              </a:rPr>
              <a:t>Open </a:t>
            </a:r>
            <a:r>
              <a:rPr lang="en-US" sz="1400" b="1" dirty="0" smtClean="0">
                <a:solidFill>
                  <a:schemeClr val="accent4"/>
                </a:solidFill>
              </a:rPr>
              <a:t>access</a:t>
            </a:r>
            <a:endParaRPr lang="en-US" sz="1400" b="1" dirty="0">
              <a:solidFill>
                <a:schemeClr val="accent4"/>
              </a:solidFill>
            </a:endParaRPr>
          </a:p>
        </p:txBody>
      </p:sp>
      <p:sp>
        <p:nvSpPr>
          <p:cNvPr id="73" name="Rechteck 46"/>
          <p:cNvSpPr/>
          <p:nvPr/>
        </p:nvSpPr>
        <p:spPr>
          <a:xfrm>
            <a:off x="1023067" y="1488782"/>
            <a:ext cx="2921330" cy="443895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5" name="Inhaltsplatzhalter 8"/>
          <p:cNvSpPr txBox="1">
            <a:spLocks/>
          </p:cNvSpPr>
          <p:nvPr/>
        </p:nvSpPr>
        <p:spPr>
          <a:xfrm>
            <a:off x="5494970" y="5555089"/>
            <a:ext cx="1372671"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solidFill>
                  <a:schemeClr val="accent6"/>
                </a:solidFill>
              </a:rPr>
              <a:t>Subscriptions</a:t>
            </a:r>
          </a:p>
        </p:txBody>
      </p:sp>
      <p:sp>
        <p:nvSpPr>
          <p:cNvPr id="76" name="Inhaltsplatzhalter 8"/>
          <p:cNvSpPr txBox="1">
            <a:spLocks/>
          </p:cNvSpPr>
          <p:nvPr/>
        </p:nvSpPr>
        <p:spPr>
          <a:xfrm>
            <a:off x="6690911" y="5555089"/>
            <a:ext cx="1377425"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de-DE" sz="1400" b="1" dirty="0" smtClean="0">
                <a:solidFill>
                  <a:schemeClr val="accent4"/>
                </a:solidFill>
              </a:rPr>
              <a:t>Open </a:t>
            </a:r>
            <a:r>
              <a:rPr lang="de-DE" sz="1400" b="1" dirty="0" err="1" smtClean="0">
                <a:solidFill>
                  <a:schemeClr val="accent4"/>
                </a:solidFill>
              </a:rPr>
              <a:t>access</a:t>
            </a:r>
            <a:endParaRPr lang="de-DE" sz="1400" b="1" dirty="0">
              <a:solidFill>
                <a:schemeClr val="accent4"/>
              </a:solidFill>
            </a:endParaRPr>
          </a:p>
        </p:txBody>
      </p:sp>
      <p:grpSp>
        <p:nvGrpSpPr>
          <p:cNvPr id="77" name="Gruppieren 8"/>
          <p:cNvGrpSpPr/>
          <p:nvPr/>
        </p:nvGrpSpPr>
        <p:grpSpPr>
          <a:xfrm>
            <a:off x="5503464" y="4350511"/>
            <a:ext cx="1226054" cy="1097356"/>
            <a:chOff x="3724768" y="4315957"/>
            <a:chExt cx="1226054" cy="1097356"/>
          </a:xfrm>
        </p:grpSpPr>
        <p:sp>
          <p:nvSpPr>
            <p:cNvPr id="78" name="Rechteck 59"/>
            <p:cNvSpPr/>
            <p:nvPr/>
          </p:nvSpPr>
          <p:spPr>
            <a:xfrm>
              <a:off x="3724768" y="4315957"/>
              <a:ext cx="1226054" cy="1097356"/>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tx1"/>
                </a:solidFill>
              </a:endParaRPr>
            </a:p>
          </p:txBody>
        </p:sp>
        <p:grpSp>
          <p:nvGrpSpPr>
            <p:cNvPr id="79" name="Gruppieren 5"/>
            <p:cNvGrpSpPr/>
            <p:nvPr/>
          </p:nvGrpSpPr>
          <p:grpSpPr>
            <a:xfrm>
              <a:off x="3783503" y="4411249"/>
              <a:ext cx="989690" cy="881199"/>
              <a:chOff x="3783503" y="4411249"/>
              <a:chExt cx="989690" cy="881199"/>
            </a:xfrm>
          </p:grpSpPr>
          <p:pic>
            <p:nvPicPr>
              <p:cNvPr id="8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83503"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144565"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505628"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966095"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332047"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5" name="Grafik 86"/>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4051068" y="4411249"/>
                <a:ext cx="556741" cy="865555"/>
              </a:xfrm>
              <a:prstGeom prst="rect">
                <a:avLst/>
              </a:prstGeom>
            </p:spPr>
          </p:pic>
        </p:grpSp>
      </p:grpSp>
      <p:grpSp>
        <p:nvGrpSpPr>
          <p:cNvPr id="86" name="Gruppieren 7"/>
          <p:cNvGrpSpPr/>
          <p:nvPr/>
        </p:nvGrpSpPr>
        <p:grpSpPr>
          <a:xfrm>
            <a:off x="6757572" y="1876284"/>
            <a:ext cx="1222394" cy="3572907"/>
            <a:chOff x="4978876" y="1841730"/>
            <a:chExt cx="1222394" cy="3572907"/>
          </a:xfrm>
        </p:grpSpPr>
        <p:sp>
          <p:nvSpPr>
            <p:cNvPr id="87" name="Rechteck 60"/>
            <p:cNvSpPr/>
            <p:nvPr/>
          </p:nvSpPr>
          <p:spPr>
            <a:xfrm>
              <a:off x="4978876" y="1841730"/>
              <a:ext cx="1222394" cy="3572907"/>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nvGrpSpPr>
            <p:cNvPr id="88" name="Gruppieren 6"/>
            <p:cNvGrpSpPr/>
            <p:nvPr/>
          </p:nvGrpSpPr>
          <p:grpSpPr>
            <a:xfrm>
              <a:off x="5062220" y="1953555"/>
              <a:ext cx="1033552" cy="3341293"/>
              <a:chOff x="5062220" y="1953555"/>
              <a:chExt cx="1033552" cy="3341293"/>
            </a:xfrm>
          </p:grpSpPr>
          <p:pic>
            <p:nvPicPr>
              <p:cNvPr id="8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062220"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423282"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784345"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244812" y="321703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610764" y="321703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106082"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467144"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828207"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288674" y="235882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654626" y="235882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106082"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467144"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828207"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288674" y="407292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654626" y="407292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087275"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448337"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809400"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269867" y="49335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635819" y="49335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9" name="Picture 4" descr="\\psf\Host\Volumes\Kerstin 2014\20141213\_Kerstin_141312\_form und glanz\Kunden\MPG_MPDL\18_Logo ESAC\220px-Open_Access_logo_PLoS_white.png"/>
              <p:cNvPicPr>
                <a:picLocks noChangeAspect="1" noChangeArrowheads="1"/>
              </p:cNvPicPr>
              <p:nvPr/>
            </p:nvPicPr>
            <p:blipFill>
              <a:blip r:embed="rId5"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5318832" y="4414560"/>
                <a:ext cx="546170" cy="85401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10" name="Rechteck 72"/>
          <p:cNvSpPr/>
          <p:nvPr/>
        </p:nvSpPr>
        <p:spPr>
          <a:xfrm>
            <a:off x="5281916" y="1485758"/>
            <a:ext cx="2921330" cy="443895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 name="Right Arrow 1"/>
          <p:cNvSpPr/>
          <p:nvPr/>
        </p:nvSpPr>
        <p:spPr>
          <a:xfrm>
            <a:off x="4246323" y="3251585"/>
            <a:ext cx="926926" cy="811941"/>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GB" sz="1200" dirty="0" smtClean="0">
              <a:solidFill>
                <a:schemeClr val="tx1"/>
              </a:solidFill>
            </a:endParaRPr>
          </a:p>
        </p:txBody>
      </p:sp>
    </p:spTree>
    <p:extLst>
      <p:ext uri="{BB962C8B-B14F-4D97-AF65-F5344CB8AC3E}">
        <p14:creationId xmlns:p14="http://schemas.microsoft.com/office/powerpoint/2010/main" val="135987673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35</a:t>
            </a:fld>
            <a:endParaRPr lang="de-DE" dirty="0"/>
          </a:p>
        </p:txBody>
      </p:sp>
      <p:sp>
        <p:nvSpPr>
          <p:cNvPr id="5" name="Textplatzhalter 2"/>
          <p:cNvSpPr txBox="1">
            <a:spLocks/>
          </p:cNvSpPr>
          <p:nvPr/>
        </p:nvSpPr>
        <p:spPr>
          <a:xfrm>
            <a:off x="302340" y="426280"/>
            <a:ext cx="960365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Mechanism</a:t>
            </a:r>
            <a:r>
              <a:rPr lang="de-DE" sz="3600" b="1" dirty="0" smtClean="0">
                <a:solidFill>
                  <a:schemeClr val="accent6"/>
                </a:solidFill>
              </a:rPr>
              <a:t> </a:t>
            </a:r>
            <a:r>
              <a:rPr lang="de-DE" sz="3600" b="1" dirty="0" err="1" smtClean="0">
                <a:solidFill>
                  <a:schemeClr val="accent6"/>
                </a:solidFill>
              </a:rPr>
              <a:t>of</a:t>
            </a:r>
            <a:r>
              <a:rPr lang="de-DE" sz="3600" b="1" dirty="0" smtClean="0">
                <a:solidFill>
                  <a:schemeClr val="accent6"/>
                </a:solidFill>
              </a:rPr>
              <a:t> transformative </a:t>
            </a:r>
            <a:r>
              <a:rPr lang="de-DE" sz="3600" b="1" dirty="0" err="1" smtClean="0">
                <a:solidFill>
                  <a:schemeClr val="accent6"/>
                </a:solidFill>
              </a:rPr>
              <a:t>agreements</a:t>
            </a:r>
            <a:endParaRPr lang="de-DE" sz="3600" dirty="0"/>
          </a:p>
        </p:txBody>
      </p:sp>
      <p:grpSp>
        <p:nvGrpSpPr>
          <p:cNvPr id="40" name="Gruppieren 50"/>
          <p:cNvGrpSpPr/>
          <p:nvPr/>
        </p:nvGrpSpPr>
        <p:grpSpPr>
          <a:xfrm>
            <a:off x="750572" y="5024647"/>
            <a:ext cx="1226054" cy="1097356"/>
            <a:chOff x="3724768" y="4315957"/>
            <a:chExt cx="1226054" cy="1097356"/>
          </a:xfrm>
        </p:grpSpPr>
        <p:sp>
          <p:nvSpPr>
            <p:cNvPr id="41" name="Rechteck 51"/>
            <p:cNvSpPr/>
            <p:nvPr/>
          </p:nvSpPr>
          <p:spPr>
            <a:xfrm>
              <a:off x="3724768" y="4315957"/>
              <a:ext cx="1226054" cy="1097356"/>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tx1"/>
                </a:solidFill>
              </a:endParaRPr>
            </a:p>
          </p:txBody>
        </p:sp>
        <p:grpSp>
          <p:nvGrpSpPr>
            <p:cNvPr id="42" name="Gruppieren 52"/>
            <p:cNvGrpSpPr/>
            <p:nvPr/>
          </p:nvGrpSpPr>
          <p:grpSpPr>
            <a:xfrm>
              <a:off x="3783503" y="4411249"/>
              <a:ext cx="989690" cy="881199"/>
              <a:chOff x="3783503" y="4411249"/>
              <a:chExt cx="989690" cy="881199"/>
            </a:xfrm>
          </p:grpSpPr>
          <p:pic>
            <p:nvPicPr>
              <p:cNvPr id="4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83503"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144565"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505628"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966095"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332047"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Grafik 63"/>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4051068" y="4411249"/>
                <a:ext cx="556741" cy="865555"/>
              </a:xfrm>
              <a:prstGeom prst="rect">
                <a:avLst/>
              </a:prstGeom>
            </p:spPr>
          </p:pic>
        </p:grpSp>
      </p:grpSp>
      <p:sp>
        <p:nvSpPr>
          <p:cNvPr id="49" name="Rechteck 44"/>
          <p:cNvSpPr/>
          <p:nvPr/>
        </p:nvSpPr>
        <p:spPr>
          <a:xfrm>
            <a:off x="751666" y="5027551"/>
            <a:ext cx="1226054" cy="1097356"/>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tx1"/>
              </a:solidFill>
            </a:endParaRPr>
          </a:p>
        </p:txBody>
      </p:sp>
      <p:sp>
        <p:nvSpPr>
          <p:cNvPr id="50" name="Rechteck 55"/>
          <p:cNvSpPr/>
          <p:nvPr/>
        </p:nvSpPr>
        <p:spPr>
          <a:xfrm>
            <a:off x="834079" y="1474624"/>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1" name="Rechteck 56"/>
          <p:cNvSpPr/>
          <p:nvPr/>
        </p:nvSpPr>
        <p:spPr>
          <a:xfrm>
            <a:off x="1601260" y="2634462"/>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2" name="Rechteck 58"/>
          <p:cNvSpPr/>
          <p:nvPr/>
        </p:nvSpPr>
        <p:spPr>
          <a:xfrm>
            <a:off x="1009541" y="3220517"/>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3" name="Rechteck 59"/>
          <p:cNvSpPr/>
          <p:nvPr/>
        </p:nvSpPr>
        <p:spPr>
          <a:xfrm>
            <a:off x="1403991" y="3220517"/>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4" name="Rechteck 84"/>
          <p:cNvSpPr/>
          <p:nvPr/>
        </p:nvSpPr>
        <p:spPr>
          <a:xfrm>
            <a:off x="1601260" y="1474624"/>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5" name="Rechteck 85"/>
          <p:cNvSpPr/>
          <p:nvPr/>
        </p:nvSpPr>
        <p:spPr>
          <a:xfrm>
            <a:off x="1009541" y="2054597"/>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6" name="Rechteck 86"/>
          <p:cNvSpPr/>
          <p:nvPr/>
        </p:nvSpPr>
        <p:spPr>
          <a:xfrm>
            <a:off x="1403991" y="2054597"/>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7" name="Rechteck 90"/>
          <p:cNvSpPr/>
          <p:nvPr/>
        </p:nvSpPr>
        <p:spPr>
          <a:xfrm>
            <a:off x="1217669" y="2634462"/>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8" name="Rechteck 91"/>
          <p:cNvSpPr/>
          <p:nvPr/>
        </p:nvSpPr>
        <p:spPr>
          <a:xfrm>
            <a:off x="1217669" y="3802821"/>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9" name="Rechteck 92"/>
          <p:cNvSpPr/>
          <p:nvPr/>
        </p:nvSpPr>
        <p:spPr>
          <a:xfrm>
            <a:off x="834079" y="3802821"/>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0" name="Rechteck 93"/>
          <p:cNvSpPr/>
          <p:nvPr/>
        </p:nvSpPr>
        <p:spPr>
          <a:xfrm>
            <a:off x="1601260" y="3802821"/>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1" name="Rechteck 96"/>
          <p:cNvSpPr/>
          <p:nvPr/>
        </p:nvSpPr>
        <p:spPr>
          <a:xfrm>
            <a:off x="1009541" y="4382908"/>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2" name="Rechteck 97"/>
          <p:cNvSpPr/>
          <p:nvPr/>
        </p:nvSpPr>
        <p:spPr>
          <a:xfrm>
            <a:off x="1403991" y="4382908"/>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3" name="Rechteck 48"/>
          <p:cNvSpPr/>
          <p:nvPr/>
        </p:nvSpPr>
        <p:spPr>
          <a:xfrm>
            <a:off x="754232" y="1391692"/>
            <a:ext cx="1222394" cy="3572907"/>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nvGrpSpPr>
          <p:cNvPr id="75" name="Gruppieren 35"/>
          <p:cNvGrpSpPr/>
          <p:nvPr/>
        </p:nvGrpSpPr>
        <p:grpSpPr>
          <a:xfrm>
            <a:off x="3304016" y="1769652"/>
            <a:ext cx="2494566" cy="3614951"/>
            <a:chOff x="3537697" y="1789696"/>
            <a:chExt cx="2494566" cy="3614951"/>
          </a:xfrm>
        </p:grpSpPr>
        <p:sp>
          <p:nvSpPr>
            <p:cNvPr id="76" name="Rechteck 36"/>
            <p:cNvSpPr/>
            <p:nvPr/>
          </p:nvSpPr>
          <p:spPr>
            <a:xfrm>
              <a:off x="4693447" y="1789696"/>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7" name="Rechteck 37"/>
            <p:cNvSpPr/>
            <p:nvPr/>
          </p:nvSpPr>
          <p:spPr>
            <a:xfrm>
              <a:off x="3537697" y="2740214"/>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8" name="Rechteck 38"/>
            <p:cNvSpPr/>
            <p:nvPr/>
          </p:nvSpPr>
          <p:spPr>
            <a:xfrm>
              <a:off x="5722799" y="3694572"/>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9" name="Rechteck 39"/>
            <p:cNvSpPr/>
            <p:nvPr/>
          </p:nvSpPr>
          <p:spPr>
            <a:xfrm>
              <a:off x="5164793" y="330655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0" name="Rechteck 40"/>
            <p:cNvSpPr/>
            <p:nvPr/>
          </p:nvSpPr>
          <p:spPr>
            <a:xfrm>
              <a:off x="5171517" y="2209781"/>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1" name="Rechteck 41"/>
            <p:cNvSpPr/>
            <p:nvPr/>
          </p:nvSpPr>
          <p:spPr>
            <a:xfrm>
              <a:off x="4102427" y="2214525"/>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2" name="Rechteck 42"/>
            <p:cNvSpPr/>
            <p:nvPr/>
          </p:nvSpPr>
          <p:spPr>
            <a:xfrm>
              <a:off x="4479323" y="293918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3" name="Rechteck 43"/>
            <p:cNvSpPr/>
            <p:nvPr/>
          </p:nvSpPr>
          <p:spPr>
            <a:xfrm>
              <a:off x="3787192" y="3417801"/>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4" name="Rechteck 45"/>
            <p:cNvSpPr/>
            <p:nvPr/>
          </p:nvSpPr>
          <p:spPr>
            <a:xfrm>
              <a:off x="3692429" y="440578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5" name="Rechteck 46"/>
            <p:cNvSpPr/>
            <p:nvPr/>
          </p:nvSpPr>
          <p:spPr>
            <a:xfrm>
              <a:off x="4419128" y="405734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6" name="Rechteck 47"/>
            <p:cNvSpPr/>
            <p:nvPr/>
          </p:nvSpPr>
          <p:spPr>
            <a:xfrm>
              <a:off x="5374113" y="4631642"/>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7" name="Rechteck 49"/>
            <p:cNvSpPr/>
            <p:nvPr/>
          </p:nvSpPr>
          <p:spPr>
            <a:xfrm>
              <a:off x="4601828" y="4926026"/>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8" name="Rechteck 54"/>
            <p:cNvSpPr/>
            <p:nvPr/>
          </p:nvSpPr>
          <p:spPr>
            <a:xfrm>
              <a:off x="5633153" y="2693146"/>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sp>
        <p:nvSpPr>
          <p:cNvPr id="121" name="Rechteck 53"/>
          <p:cNvSpPr/>
          <p:nvPr/>
        </p:nvSpPr>
        <p:spPr>
          <a:xfrm>
            <a:off x="9108580" y="3415196"/>
            <a:ext cx="309464" cy="478621"/>
          </a:xfrm>
          <a:prstGeom prst="rect">
            <a:avLst/>
          </a:prstGeom>
          <a:solidFill>
            <a:schemeClr val="accent2">
              <a:lumMod val="40000"/>
              <a:lumOff val="6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2" name="Rechteck 54"/>
          <p:cNvSpPr>
            <a:spLocks noChangeAspect="1"/>
          </p:cNvSpPr>
          <p:nvPr/>
        </p:nvSpPr>
        <p:spPr>
          <a:xfrm>
            <a:off x="7555981" y="1484743"/>
            <a:ext cx="154732" cy="239311"/>
          </a:xfrm>
          <a:prstGeom prst="rect">
            <a:avLst/>
          </a:prstGeom>
          <a:solidFill>
            <a:schemeClr val="accent5"/>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3" name="Rechteck 55"/>
          <p:cNvSpPr>
            <a:spLocks noChangeAspect="1"/>
          </p:cNvSpPr>
          <p:nvPr/>
        </p:nvSpPr>
        <p:spPr>
          <a:xfrm>
            <a:off x="7109003" y="2294768"/>
            <a:ext cx="278777" cy="431158"/>
          </a:xfrm>
          <a:prstGeom prst="rect">
            <a:avLst/>
          </a:prstGeom>
          <a:solidFill>
            <a:schemeClr val="tx1">
              <a:lumMod val="50000"/>
              <a:lumOff val="5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accent6"/>
              </a:solidFill>
            </a:endParaRPr>
          </a:p>
        </p:txBody>
      </p:sp>
      <p:sp>
        <p:nvSpPr>
          <p:cNvPr id="124" name="Rechteck 57"/>
          <p:cNvSpPr>
            <a:spLocks noChangeAspect="1"/>
          </p:cNvSpPr>
          <p:nvPr/>
        </p:nvSpPr>
        <p:spPr>
          <a:xfrm>
            <a:off x="8828521" y="2531453"/>
            <a:ext cx="250667" cy="387683"/>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5" name="Rechteck 59"/>
          <p:cNvSpPr>
            <a:spLocks noChangeAspect="1"/>
          </p:cNvSpPr>
          <p:nvPr/>
        </p:nvSpPr>
        <p:spPr>
          <a:xfrm>
            <a:off x="7710713" y="2276196"/>
            <a:ext cx="154732" cy="239311"/>
          </a:xfrm>
          <a:prstGeom prst="rect">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6" name="Rechteck 60"/>
          <p:cNvSpPr/>
          <p:nvPr/>
        </p:nvSpPr>
        <p:spPr>
          <a:xfrm>
            <a:off x="8246585" y="1689333"/>
            <a:ext cx="309464" cy="478621"/>
          </a:xfrm>
          <a:prstGeom prst="rect">
            <a:avLst/>
          </a:prstGeom>
          <a:solidFill>
            <a:schemeClr val="accent3">
              <a:lumMod val="20000"/>
              <a:lumOff val="8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accent6"/>
              </a:solidFill>
            </a:endParaRPr>
          </a:p>
        </p:txBody>
      </p:sp>
      <p:sp>
        <p:nvSpPr>
          <p:cNvPr id="127" name="Rechteck 61"/>
          <p:cNvSpPr/>
          <p:nvPr/>
        </p:nvSpPr>
        <p:spPr>
          <a:xfrm>
            <a:off x="7375467" y="3713559"/>
            <a:ext cx="309464" cy="478621"/>
          </a:xfrm>
          <a:prstGeom prst="rect">
            <a:avLst/>
          </a:prstGeom>
          <a:solidFill>
            <a:schemeClr val="accent6">
              <a:lumMod val="20000"/>
              <a:lumOff val="8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8" name="Rechteck 62"/>
          <p:cNvSpPr>
            <a:spLocks noChangeAspect="1"/>
          </p:cNvSpPr>
          <p:nvPr/>
        </p:nvSpPr>
        <p:spPr>
          <a:xfrm>
            <a:off x="8339424" y="4465314"/>
            <a:ext cx="216625" cy="335035"/>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9" name="Rechteck 63"/>
          <p:cNvSpPr/>
          <p:nvPr/>
        </p:nvSpPr>
        <p:spPr>
          <a:xfrm>
            <a:off x="8114212" y="3055312"/>
            <a:ext cx="309464" cy="478621"/>
          </a:xfrm>
          <a:prstGeom prst="rect">
            <a:avLst/>
          </a:prstGeom>
          <a:solidFill>
            <a:schemeClr val="accent4">
              <a:lumMod val="60000"/>
              <a:lumOff val="4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0" name="Rechteck 65"/>
          <p:cNvSpPr>
            <a:spLocks noChangeAspect="1"/>
          </p:cNvSpPr>
          <p:nvPr/>
        </p:nvSpPr>
        <p:spPr>
          <a:xfrm>
            <a:off x="7296025" y="4954742"/>
            <a:ext cx="216622" cy="335035"/>
          </a:xfrm>
          <a:prstGeom prst="rect">
            <a:avLst/>
          </a:prstGeom>
          <a:solidFill>
            <a:schemeClr val="accent6">
              <a:lumMod val="60000"/>
              <a:lumOff val="40000"/>
            </a:schemeClr>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1" name="Rechteck 60"/>
          <p:cNvSpPr/>
          <p:nvPr/>
        </p:nvSpPr>
        <p:spPr>
          <a:xfrm>
            <a:off x="9108580" y="5000065"/>
            <a:ext cx="309464" cy="478621"/>
          </a:xfrm>
          <a:prstGeom prst="rect">
            <a:avLst/>
          </a:prstGeom>
          <a:solidFill>
            <a:schemeClr val="accent3">
              <a:lumMod val="20000"/>
              <a:lumOff val="8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accent6"/>
              </a:solidFill>
            </a:endParaRPr>
          </a:p>
        </p:txBody>
      </p:sp>
      <p:sp>
        <p:nvSpPr>
          <p:cNvPr id="132" name="Rechteck 65"/>
          <p:cNvSpPr>
            <a:spLocks noChangeAspect="1"/>
          </p:cNvSpPr>
          <p:nvPr/>
        </p:nvSpPr>
        <p:spPr>
          <a:xfrm>
            <a:off x="9155001" y="1627215"/>
            <a:ext cx="216622" cy="335035"/>
          </a:xfrm>
          <a:prstGeom prst="rect">
            <a:avLst/>
          </a:prstGeom>
          <a:solidFill>
            <a:schemeClr val="accent6">
              <a:lumMod val="60000"/>
              <a:lumOff val="40000"/>
            </a:schemeClr>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3" name="Right Arrow 132"/>
          <p:cNvSpPr/>
          <p:nvPr/>
        </p:nvSpPr>
        <p:spPr>
          <a:xfrm>
            <a:off x="2305856" y="3286506"/>
            <a:ext cx="894109" cy="548697"/>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GB" sz="1200" dirty="0" smtClean="0">
              <a:solidFill>
                <a:schemeClr val="tx1"/>
              </a:solidFill>
            </a:endParaRPr>
          </a:p>
        </p:txBody>
      </p:sp>
      <p:sp>
        <p:nvSpPr>
          <p:cNvPr id="134" name="Right Arrow 133"/>
          <p:cNvSpPr/>
          <p:nvPr/>
        </p:nvSpPr>
        <p:spPr>
          <a:xfrm>
            <a:off x="5951186" y="3185478"/>
            <a:ext cx="894109" cy="548697"/>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GB" sz="1200" dirty="0" smtClean="0">
              <a:solidFill>
                <a:schemeClr val="tx1"/>
              </a:solidFill>
            </a:endParaRPr>
          </a:p>
        </p:txBody>
      </p:sp>
    </p:spTree>
    <p:extLst>
      <p:ext uri="{BB962C8B-B14F-4D97-AF65-F5344CB8AC3E}">
        <p14:creationId xmlns:p14="http://schemas.microsoft.com/office/powerpoint/2010/main" val="226304369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84572" y="3246235"/>
            <a:ext cx="7684168" cy="2585323"/>
          </a:xfrm>
          <a:prstGeom prst="rect">
            <a:avLst/>
          </a:prstGeom>
          <a:noFill/>
        </p:spPr>
        <p:txBody>
          <a:bodyPr wrap="square" rtlCol="0">
            <a:spAutoFit/>
          </a:bodyPr>
          <a:lstStyle/>
          <a:p>
            <a:r>
              <a:rPr lang="en-US" i="1" dirty="0">
                <a:solidFill>
                  <a:schemeClr val="tx2"/>
                </a:solidFill>
              </a:rPr>
              <a:t>Publisher represents that the Read &amp; Publish model, with its foundation in “hybrid” open access – where some articles are </a:t>
            </a:r>
            <a:r>
              <a:rPr lang="en-US" i="1" dirty="0" err="1">
                <a:solidFill>
                  <a:schemeClr val="tx2"/>
                </a:solidFill>
              </a:rPr>
              <a:t>paywalled</a:t>
            </a:r>
            <a:r>
              <a:rPr lang="en-US" i="1" dirty="0">
                <a:solidFill>
                  <a:schemeClr val="tx2"/>
                </a:solidFill>
              </a:rPr>
              <a:t> and others published open access – </a:t>
            </a:r>
            <a:r>
              <a:rPr lang="en-US" b="1" i="1" dirty="0">
                <a:solidFill>
                  <a:schemeClr val="tx2"/>
                </a:solidFill>
              </a:rPr>
              <a:t>is</a:t>
            </a:r>
            <a:r>
              <a:rPr lang="en-US" i="1" dirty="0">
                <a:solidFill>
                  <a:schemeClr val="tx2"/>
                </a:solidFill>
              </a:rPr>
              <a:t> </a:t>
            </a:r>
            <a:r>
              <a:rPr lang="en-US" b="1" i="1" dirty="0">
                <a:solidFill>
                  <a:schemeClr val="tx2"/>
                </a:solidFill>
              </a:rPr>
              <a:t>a temporary and transitional business model whose aim is to provide a mechanism to shift over time to full open access</a:t>
            </a:r>
            <a:r>
              <a:rPr lang="en-US" i="1" dirty="0">
                <a:solidFill>
                  <a:schemeClr val="tx2"/>
                </a:solidFill>
              </a:rPr>
              <a:t>. </a:t>
            </a:r>
            <a:endParaRPr lang="en-US" i="1" dirty="0" smtClean="0">
              <a:solidFill>
                <a:schemeClr val="tx2"/>
              </a:solidFill>
            </a:endParaRPr>
          </a:p>
          <a:p>
            <a:endParaRPr lang="en-US" i="1" dirty="0">
              <a:solidFill>
                <a:schemeClr val="tx2"/>
              </a:solidFill>
            </a:endParaRPr>
          </a:p>
          <a:p>
            <a:r>
              <a:rPr lang="en-US" i="1" dirty="0" smtClean="0">
                <a:solidFill>
                  <a:schemeClr val="tx2"/>
                </a:solidFill>
              </a:rPr>
              <a:t>The </a:t>
            </a:r>
            <a:r>
              <a:rPr lang="en-US" i="1" dirty="0">
                <a:solidFill>
                  <a:schemeClr val="tx2"/>
                </a:solidFill>
              </a:rPr>
              <a:t>Publisher commits to informing Customer of progress towards this longer-term aim on an annual basis, and to adjusting Read &amp; Publish terms based on its progress towards full open access.</a:t>
            </a:r>
            <a:endParaRPr lang="en-GB" dirty="0">
              <a:solidFill>
                <a:schemeClr val="tx2"/>
              </a:solidFill>
            </a:endParaRPr>
          </a:p>
        </p:txBody>
      </p:sp>
      <p:pic>
        <p:nvPicPr>
          <p:cNvPr id="5" name="Picture 4"/>
          <p:cNvPicPr>
            <a:picLocks noChangeAspect="1"/>
          </p:cNvPicPr>
          <p:nvPr/>
        </p:nvPicPr>
        <p:blipFill>
          <a:blip r:embed="rId3"/>
          <a:stretch>
            <a:fillRect/>
          </a:stretch>
        </p:blipFill>
        <p:spPr>
          <a:xfrm>
            <a:off x="1084572" y="1951870"/>
            <a:ext cx="1162050" cy="504825"/>
          </a:xfrm>
          <a:prstGeom prst="rect">
            <a:avLst/>
          </a:prstGeom>
        </p:spPr>
      </p:pic>
      <p:pic>
        <p:nvPicPr>
          <p:cNvPr id="6" name="Picture 5"/>
          <p:cNvPicPr>
            <a:picLocks noChangeAspect="1"/>
          </p:cNvPicPr>
          <p:nvPr/>
        </p:nvPicPr>
        <p:blipFill>
          <a:blip r:embed="rId4"/>
          <a:stretch>
            <a:fillRect/>
          </a:stretch>
        </p:blipFill>
        <p:spPr>
          <a:xfrm>
            <a:off x="2623522" y="1951870"/>
            <a:ext cx="5539805" cy="813384"/>
          </a:xfrm>
          <a:prstGeom prst="rect">
            <a:avLst/>
          </a:prstGeom>
        </p:spPr>
      </p:pic>
      <p:sp>
        <p:nvSpPr>
          <p:cNvPr id="7"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Temporary</a:t>
            </a:r>
            <a:r>
              <a:rPr lang="de-DE" sz="3600" b="1" dirty="0" smtClean="0">
                <a:solidFill>
                  <a:schemeClr val="accent6"/>
                </a:solidFill>
              </a:rPr>
              <a:t> </a:t>
            </a:r>
            <a:r>
              <a:rPr lang="de-DE" sz="3600" b="1" dirty="0" err="1" smtClean="0">
                <a:solidFill>
                  <a:schemeClr val="accent6"/>
                </a:solidFill>
              </a:rPr>
              <a:t>and</a:t>
            </a:r>
            <a:r>
              <a:rPr lang="de-DE" sz="3600" b="1" dirty="0" smtClean="0">
                <a:solidFill>
                  <a:schemeClr val="accent6"/>
                </a:solidFill>
              </a:rPr>
              <a:t> </a:t>
            </a:r>
            <a:r>
              <a:rPr lang="de-DE" sz="3600" b="1" dirty="0" err="1" smtClean="0">
                <a:solidFill>
                  <a:schemeClr val="accent6"/>
                </a:solidFill>
              </a:rPr>
              <a:t>transitional</a:t>
            </a:r>
            <a:endParaRPr lang="de-DE" sz="3600" dirty="0"/>
          </a:p>
        </p:txBody>
      </p:sp>
      <p:sp>
        <p:nvSpPr>
          <p:cNvPr id="8" name="Foliennummernplatzhalter 2"/>
          <p:cNvSpPr>
            <a:spLocks noGrp="1"/>
          </p:cNvSpPr>
          <p:nvPr>
            <p:ph type="sldNum" sz="quarter" idx="12"/>
          </p:nvPr>
        </p:nvSpPr>
        <p:spPr>
          <a:xfrm>
            <a:off x="8931442" y="6592861"/>
            <a:ext cx="773912" cy="167164"/>
          </a:xfrm>
        </p:spPr>
        <p:txBody>
          <a:bodyPr/>
          <a:lstStyle/>
          <a:p>
            <a:fld id="{4AD1E780-DE1C-4ECA-B5E5-863D0BC53287}" type="slidenum">
              <a:rPr lang="de-DE" smtClean="0"/>
              <a:pPr/>
              <a:t>36</a:t>
            </a:fld>
            <a:endParaRPr lang="de-DE" dirty="0"/>
          </a:p>
        </p:txBody>
      </p:sp>
    </p:spTree>
    <p:extLst>
      <p:ext uri="{BB962C8B-B14F-4D97-AF65-F5344CB8AC3E}">
        <p14:creationId xmlns:p14="http://schemas.microsoft.com/office/powerpoint/2010/main" val="6800675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a:xfrm>
            <a:off x="961289" y="4981256"/>
            <a:ext cx="3474720" cy="34053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 name="Freihandform 13"/>
          <p:cNvSpPr/>
          <p:nvPr/>
        </p:nvSpPr>
        <p:spPr>
          <a:xfrm>
            <a:off x="967593" y="2011031"/>
            <a:ext cx="5215233" cy="2963917"/>
          </a:xfrm>
          <a:custGeom>
            <a:avLst/>
            <a:gdLst>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090974 w 5410725"/>
              <a:gd name="connsiteY12" fmla="*/ 1374753 h 2963917"/>
              <a:gd name="connsiteX13" fmla="*/ 1179260 w 5410725"/>
              <a:gd name="connsiteY13" fmla="*/ 1481959 h 2963917"/>
              <a:gd name="connsiteX14" fmla="*/ 1198179 w 5410725"/>
              <a:gd name="connsiteY14" fmla="*/ 1500877 h 2963917"/>
              <a:gd name="connsiteX15" fmla="*/ 1261241 w 5410725"/>
              <a:gd name="connsiteY15" fmla="*/ 1582858 h 2963917"/>
              <a:gd name="connsiteX16" fmla="*/ 1305385 w 5410725"/>
              <a:gd name="connsiteY16" fmla="*/ 1627001 h 2963917"/>
              <a:gd name="connsiteX17" fmla="*/ 1450427 w 5410725"/>
              <a:gd name="connsiteY17" fmla="*/ 1790963 h 2963917"/>
              <a:gd name="connsiteX18" fmla="*/ 1727900 w 5410725"/>
              <a:gd name="connsiteY18" fmla="*/ 1942312 h 2963917"/>
              <a:gd name="connsiteX19" fmla="*/ 1809881 w 5410725"/>
              <a:gd name="connsiteY19" fmla="*/ 1986455 h 2963917"/>
              <a:gd name="connsiteX20" fmla="*/ 1872943 w 5410725"/>
              <a:gd name="connsiteY20" fmla="*/ 2055823 h 2963917"/>
              <a:gd name="connsiteX21" fmla="*/ 1917087 w 5410725"/>
              <a:gd name="connsiteY21" fmla="*/ 2118886 h 2963917"/>
              <a:gd name="connsiteX22" fmla="*/ 2282847 w 5410725"/>
              <a:gd name="connsiteY22" fmla="*/ 2358521 h 2963917"/>
              <a:gd name="connsiteX23" fmla="*/ 2408971 w 5410725"/>
              <a:gd name="connsiteY23" fmla="*/ 2396359 h 2963917"/>
              <a:gd name="connsiteX24" fmla="*/ 2724281 w 5410725"/>
              <a:gd name="connsiteY24" fmla="*/ 2453114 h 2963917"/>
              <a:gd name="connsiteX25" fmla="*/ 3165716 w 5410725"/>
              <a:gd name="connsiteY25" fmla="*/ 2610770 h 2963917"/>
              <a:gd name="connsiteX26" fmla="*/ 3506251 w 5410725"/>
              <a:gd name="connsiteY26" fmla="*/ 2724281 h 2963917"/>
              <a:gd name="connsiteX27" fmla="*/ 3846786 w 5410725"/>
              <a:gd name="connsiteY27" fmla="*/ 2768425 h 2963917"/>
              <a:gd name="connsiteX28" fmla="*/ 4073809 w 5410725"/>
              <a:gd name="connsiteY28" fmla="*/ 2799956 h 2963917"/>
              <a:gd name="connsiteX29" fmla="*/ 4237771 w 5410725"/>
              <a:gd name="connsiteY29" fmla="*/ 2806262 h 2963917"/>
              <a:gd name="connsiteX30" fmla="*/ 4647674 w 5410725"/>
              <a:gd name="connsiteY30" fmla="*/ 2818874 h 2963917"/>
              <a:gd name="connsiteX31" fmla="*/ 5183702 w 5410725"/>
              <a:gd name="connsiteY31" fmla="*/ 2900855 h 2963917"/>
              <a:gd name="connsiteX32" fmla="*/ 5410725 w 5410725"/>
              <a:gd name="connsiteY32" fmla="*/ 2944999 h 2963917"/>
              <a:gd name="connsiteX33" fmla="*/ 5215233 w 5410725"/>
              <a:gd name="connsiteY33" fmla="*/ 2963917 h 2963917"/>
              <a:gd name="connsiteX34" fmla="*/ 0 w 5410725"/>
              <a:gd name="connsiteY34" fmla="*/ 2963917 h 2963917"/>
              <a:gd name="connsiteX35" fmla="*/ 0 w 5410725"/>
              <a:gd name="connsiteY35"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090974 w 5410725"/>
              <a:gd name="connsiteY12" fmla="*/ 1374753 h 2963917"/>
              <a:gd name="connsiteX13" fmla="*/ 1179260 w 5410725"/>
              <a:gd name="connsiteY13" fmla="*/ 1481959 h 2963917"/>
              <a:gd name="connsiteX14" fmla="*/ 1198179 w 5410725"/>
              <a:gd name="connsiteY14" fmla="*/ 1500877 h 2963917"/>
              <a:gd name="connsiteX15" fmla="*/ 1305385 w 5410725"/>
              <a:gd name="connsiteY15" fmla="*/ 1627001 h 2963917"/>
              <a:gd name="connsiteX16" fmla="*/ 1450427 w 5410725"/>
              <a:gd name="connsiteY16" fmla="*/ 1790963 h 2963917"/>
              <a:gd name="connsiteX17" fmla="*/ 1727900 w 5410725"/>
              <a:gd name="connsiteY17" fmla="*/ 1942312 h 2963917"/>
              <a:gd name="connsiteX18" fmla="*/ 1809881 w 5410725"/>
              <a:gd name="connsiteY18" fmla="*/ 1986455 h 2963917"/>
              <a:gd name="connsiteX19" fmla="*/ 1872943 w 5410725"/>
              <a:gd name="connsiteY19" fmla="*/ 2055823 h 2963917"/>
              <a:gd name="connsiteX20" fmla="*/ 1917087 w 5410725"/>
              <a:gd name="connsiteY20" fmla="*/ 2118886 h 2963917"/>
              <a:gd name="connsiteX21" fmla="*/ 2282847 w 5410725"/>
              <a:gd name="connsiteY21" fmla="*/ 2358521 h 2963917"/>
              <a:gd name="connsiteX22" fmla="*/ 2408971 w 5410725"/>
              <a:gd name="connsiteY22" fmla="*/ 2396359 h 2963917"/>
              <a:gd name="connsiteX23" fmla="*/ 2724281 w 5410725"/>
              <a:gd name="connsiteY23" fmla="*/ 2453114 h 2963917"/>
              <a:gd name="connsiteX24" fmla="*/ 3165716 w 5410725"/>
              <a:gd name="connsiteY24" fmla="*/ 2610770 h 2963917"/>
              <a:gd name="connsiteX25" fmla="*/ 3506251 w 5410725"/>
              <a:gd name="connsiteY25" fmla="*/ 2724281 h 2963917"/>
              <a:gd name="connsiteX26" fmla="*/ 3846786 w 5410725"/>
              <a:gd name="connsiteY26" fmla="*/ 2768425 h 2963917"/>
              <a:gd name="connsiteX27" fmla="*/ 4073809 w 5410725"/>
              <a:gd name="connsiteY27" fmla="*/ 2799956 h 2963917"/>
              <a:gd name="connsiteX28" fmla="*/ 4237771 w 5410725"/>
              <a:gd name="connsiteY28" fmla="*/ 2806262 h 2963917"/>
              <a:gd name="connsiteX29" fmla="*/ 4647674 w 5410725"/>
              <a:gd name="connsiteY29" fmla="*/ 2818874 h 2963917"/>
              <a:gd name="connsiteX30" fmla="*/ 5183702 w 5410725"/>
              <a:gd name="connsiteY30" fmla="*/ 2900855 h 2963917"/>
              <a:gd name="connsiteX31" fmla="*/ 5410725 w 5410725"/>
              <a:gd name="connsiteY31" fmla="*/ 2944999 h 2963917"/>
              <a:gd name="connsiteX32" fmla="*/ 5215233 w 5410725"/>
              <a:gd name="connsiteY32" fmla="*/ 2963917 h 2963917"/>
              <a:gd name="connsiteX33" fmla="*/ 0 w 5410725"/>
              <a:gd name="connsiteY33" fmla="*/ 2963917 h 2963917"/>
              <a:gd name="connsiteX34" fmla="*/ 0 w 5410725"/>
              <a:gd name="connsiteY34"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090974 w 5410725"/>
              <a:gd name="connsiteY12" fmla="*/ 1374753 h 2963917"/>
              <a:gd name="connsiteX13" fmla="*/ 1179260 w 5410725"/>
              <a:gd name="connsiteY13" fmla="*/ 1481959 h 2963917"/>
              <a:gd name="connsiteX14" fmla="*/ 1198179 w 5410725"/>
              <a:gd name="connsiteY14" fmla="*/ 1500877 h 2963917"/>
              <a:gd name="connsiteX15" fmla="*/ 1450427 w 5410725"/>
              <a:gd name="connsiteY15" fmla="*/ 1790963 h 2963917"/>
              <a:gd name="connsiteX16" fmla="*/ 1727900 w 5410725"/>
              <a:gd name="connsiteY16" fmla="*/ 1942312 h 2963917"/>
              <a:gd name="connsiteX17" fmla="*/ 1809881 w 5410725"/>
              <a:gd name="connsiteY17" fmla="*/ 1986455 h 2963917"/>
              <a:gd name="connsiteX18" fmla="*/ 1872943 w 5410725"/>
              <a:gd name="connsiteY18" fmla="*/ 2055823 h 2963917"/>
              <a:gd name="connsiteX19" fmla="*/ 1917087 w 5410725"/>
              <a:gd name="connsiteY19" fmla="*/ 2118886 h 2963917"/>
              <a:gd name="connsiteX20" fmla="*/ 2282847 w 5410725"/>
              <a:gd name="connsiteY20" fmla="*/ 2358521 h 2963917"/>
              <a:gd name="connsiteX21" fmla="*/ 2408971 w 5410725"/>
              <a:gd name="connsiteY21" fmla="*/ 2396359 h 2963917"/>
              <a:gd name="connsiteX22" fmla="*/ 2724281 w 5410725"/>
              <a:gd name="connsiteY22" fmla="*/ 2453114 h 2963917"/>
              <a:gd name="connsiteX23" fmla="*/ 3165716 w 5410725"/>
              <a:gd name="connsiteY23" fmla="*/ 2610770 h 2963917"/>
              <a:gd name="connsiteX24" fmla="*/ 3506251 w 5410725"/>
              <a:gd name="connsiteY24" fmla="*/ 2724281 h 2963917"/>
              <a:gd name="connsiteX25" fmla="*/ 3846786 w 5410725"/>
              <a:gd name="connsiteY25" fmla="*/ 2768425 h 2963917"/>
              <a:gd name="connsiteX26" fmla="*/ 4073809 w 5410725"/>
              <a:gd name="connsiteY26" fmla="*/ 2799956 h 2963917"/>
              <a:gd name="connsiteX27" fmla="*/ 4237771 w 5410725"/>
              <a:gd name="connsiteY27" fmla="*/ 2806262 h 2963917"/>
              <a:gd name="connsiteX28" fmla="*/ 4647674 w 5410725"/>
              <a:gd name="connsiteY28" fmla="*/ 2818874 h 2963917"/>
              <a:gd name="connsiteX29" fmla="*/ 5183702 w 5410725"/>
              <a:gd name="connsiteY29" fmla="*/ 2900855 h 2963917"/>
              <a:gd name="connsiteX30" fmla="*/ 5410725 w 5410725"/>
              <a:gd name="connsiteY30" fmla="*/ 2944999 h 2963917"/>
              <a:gd name="connsiteX31" fmla="*/ 5215233 w 5410725"/>
              <a:gd name="connsiteY31" fmla="*/ 2963917 h 2963917"/>
              <a:gd name="connsiteX32" fmla="*/ 0 w 5410725"/>
              <a:gd name="connsiteY32" fmla="*/ 2963917 h 2963917"/>
              <a:gd name="connsiteX33" fmla="*/ 0 w 5410725"/>
              <a:gd name="connsiteY33"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090974 w 5410725"/>
              <a:gd name="connsiteY12" fmla="*/ 1374753 h 2963917"/>
              <a:gd name="connsiteX13" fmla="*/ 1179260 w 5410725"/>
              <a:gd name="connsiteY13" fmla="*/ 1481959 h 2963917"/>
              <a:gd name="connsiteX14" fmla="*/ 1198179 w 5410725"/>
              <a:gd name="connsiteY14" fmla="*/ 1500877 h 2963917"/>
              <a:gd name="connsiteX15" fmla="*/ 1727900 w 5410725"/>
              <a:gd name="connsiteY15" fmla="*/ 1942312 h 2963917"/>
              <a:gd name="connsiteX16" fmla="*/ 1809881 w 5410725"/>
              <a:gd name="connsiteY16" fmla="*/ 1986455 h 2963917"/>
              <a:gd name="connsiteX17" fmla="*/ 1872943 w 5410725"/>
              <a:gd name="connsiteY17" fmla="*/ 2055823 h 2963917"/>
              <a:gd name="connsiteX18" fmla="*/ 1917087 w 5410725"/>
              <a:gd name="connsiteY18" fmla="*/ 2118886 h 2963917"/>
              <a:gd name="connsiteX19" fmla="*/ 2282847 w 5410725"/>
              <a:gd name="connsiteY19" fmla="*/ 2358521 h 2963917"/>
              <a:gd name="connsiteX20" fmla="*/ 2408971 w 5410725"/>
              <a:gd name="connsiteY20" fmla="*/ 2396359 h 2963917"/>
              <a:gd name="connsiteX21" fmla="*/ 2724281 w 5410725"/>
              <a:gd name="connsiteY21" fmla="*/ 2453114 h 2963917"/>
              <a:gd name="connsiteX22" fmla="*/ 3165716 w 5410725"/>
              <a:gd name="connsiteY22" fmla="*/ 2610770 h 2963917"/>
              <a:gd name="connsiteX23" fmla="*/ 3506251 w 5410725"/>
              <a:gd name="connsiteY23" fmla="*/ 2724281 h 2963917"/>
              <a:gd name="connsiteX24" fmla="*/ 3846786 w 5410725"/>
              <a:gd name="connsiteY24" fmla="*/ 2768425 h 2963917"/>
              <a:gd name="connsiteX25" fmla="*/ 4073809 w 5410725"/>
              <a:gd name="connsiteY25" fmla="*/ 2799956 h 2963917"/>
              <a:gd name="connsiteX26" fmla="*/ 4237771 w 5410725"/>
              <a:gd name="connsiteY26" fmla="*/ 2806262 h 2963917"/>
              <a:gd name="connsiteX27" fmla="*/ 4647674 w 5410725"/>
              <a:gd name="connsiteY27" fmla="*/ 2818874 h 2963917"/>
              <a:gd name="connsiteX28" fmla="*/ 5183702 w 5410725"/>
              <a:gd name="connsiteY28" fmla="*/ 2900855 h 2963917"/>
              <a:gd name="connsiteX29" fmla="*/ 5410725 w 5410725"/>
              <a:gd name="connsiteY29" fmla="*/ 2944999 h 2963917"/>
              <a:gd name="connsiteX30" fmla="*/ 5215233 w 5410725"/>
              <a:gd name="connsiteY30" fmla="*/ 2963917 h 2963917"/>
              <a:gd name="connsiteX31" fmla="*/ 0 w 5410725"/>
              <a:gd name="connsiteY31" fmla="*/ 2963917 h 2963917"/>
              <a:gd name="connsiteX32" fmla="*/ 0 w 5410725"/>
              <a:gd name="connsiteY32"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090974 w 5410725"/>
              <a:gd name="connsiteY12" fmla="*/ 1374753 h 2963917"/>
              <a:gd name="connsiteX13" fmla="*/ 1179260 w 5410725"/>
              <a:gd name="connsiteY13" fmla="*/ 1481959 h 2963917"/>
              <a:gd name="connsiteX14" fmla="*/ 1727900 w 5410725"/>
              <a:gd name="connsiteY14" fmla="*/ 1942312 h 2963917"/>
              <a:gd name="connsiteX15" fmla="*/ 1809881 w 5410725"/>
              <a:gd name="connsiteY15" fmla="*/ 1986455 h 2963917"/>
              <a:gd name="connsiteX16" fmla="*/ 1872943 w 5410725"/>
              <a:gd name="connsiteY16" fmla="*/ 2055823 h 2963917"/>
              <a:gd name="connsiteX17" fmla="*/ 1917087 w 5410725"/>
              <a:gd name="connsiteY17" fmla="*/ 2118886 h 2963917"/>
              <a:gd name="connsiteX18" fmla="*/ 2282847 w 5410725"/>
              <a:gd name="connsiteY18" fmla="*/ 2358521 h 2963917"/>
              <a:gd name="connsiteX19" fmla="*/ 2408971 w 5410725"/>
              <a:gd name="connsiteY19" fmla="*/ 2396359 h 2963917"/>
              <a:gd name="connsiteX20" fmla="*/ 2724281 w 5410725"/>
              <a:gd name="connsiteY20" fmla="*/ 2453114 h 2963917"/>
              <a:gd name="connsiteX21" fmla="*/ 3165716 w 5410725"/>
              <a:gd name="connsiteY21" fmla="*/ 2610770 h 2963917"/>
              <a:gd name="connsiteX22" fmla="*/ 3506251 w 5410725"/>
              <a:gd name="connsiteY22" fmla="*/ 2724281 h 2963917"/>
              <a:gd name="connsiteX23" fmla="*/ 3846786 w 5410725"/>
              <a:gd name="connsiteY23" fmla="*/ 2768425 h 2963917"/>
              <a:gd name="connsiteX24" fmla="*/ 4073809 w 5410725"/>
              <a:gd name="connsiteY24" fmla="*/ 2799956 h 2963917"/>
              <a:gd name="connsiteX25" fmla="*/ 4237771 w 5410725"/>
              <a:gd name="connsiteY25" fmla="*/ 2806262 h 2963917"/>
              <a:gd name="connsiteX26" fmla="*/ 4647674 w 5410725"/>
              <a:gd name="connsiteY26" fmla="*/ 2818874 h 2963917"/>
              <a:gd name="connsiteX27" fmla="*/ 5183702 w 5410725"/>
              <a:gd name="connsiteY27" fmla="*/ 2900855 h 2963917"/>
              <a:gd name="connsiteX28" fmla="*/ 5410725 w 5410725"/>
              <a:gd name="connsiteY28" fmla="*/ 2944999 h 2963917"/>
              <a:gd name="connsiteX29" fmla="*/ 5215233 w 5410725"/>
              <a:gd name="connsiteY29" fmla="*/ 2963917 h 2963917"/>
              <a:gd name="connsiteX30" fmla="*/ 0 w 5410725"/>
              <a:gd name="connsiteY30" fmla="*/ 2963917 h 2963917"/>
              <a:gd name="connsiteX31" fmla="*/ 0 w 5410725"/>
              <a:gd name="connsiteY31"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090974 w 5410725"/>
              <a:gd name="connsiteY12" fmla="*/ 1374753 h 2963917"/>
              <a:gd name="connsiteX13" fmla="*/ 1727900 w 5410725"/>
              <a:gd name="connsiteY13" fmla="*/ 1942312 h 2963917"/>
              <a:gd name="connsiteX14" fmla="*/ 1809881 w 5410725"/>
              <a:gd name="connsiteY14" fmla="*/ 1986455 h 2963917"/>
              <a:gd name="connsiteX15" fmla="*/ 1872943 w 5410725"/>
              <a:gd name="connsiteY15" fmla="*/ 2055823 h 2963917"/>
              <a:gd name="connsiteX16" fmla="*/ 1917087 w 5410725"/>
              <a:gd name="connsiteY16" fmla="*/ 2118886 h 2963917"/>
              <a:gd name="connsiteX17" fmla="*/ 2282847 w 5410725"/>
              <a:gd name="connsiteY17" fmla="*/ 2358521 h 2963917"/>
              <a:gd name="connsiteX18" fmla="*/ 2408971 w 5410725"/>
              <a:gd name="connsiteY18" fmla="*/ 2396359 h 2963917"/>
              <a:gd name="connsiteX19" fmla="*/ 2724281 w 5410725"/>
              <a:gd name="connsiteY19" fmla="*/ 2453114 h 2963917"/>
              <a:gd name="connsiteX20" fmla="*/ 3165716 w 5410725"/>
              <a:gd name="connsiteY20" fmla="*/ 2610770 h 2963917"/>
              <a:gd name="connsiteX21" fmla="*/ 3506251 w 5410725"/>
              <a:gd name="connsiteY21" fmla="*/ 2724281 h 2963917"/>
              <a:gd name="connsiteX22" fmla="*/ 3846786 w 5410725"/>
              <a:gd name="connsiteY22" fmla="*/ 2768425 h 2963917"/>
              <a:gd name="connsiteX23" fmla="*/ 4073809 w 5410725"/>
              <a:gd name="connsiteY23" fmla="*/ 2799956 h 2963917"/>
              <a:gd name="connsiteX24" fmla="*/ 4237771 w 5410725"/>
              <a:gd name="connsiteY24" fmla="*/ 2806262 h 2963917"/>
              <a:gd name="connsiteX25" fmla="*/ 4647674 w 5410725"/>
              <a:gd name="connsiteY25" fmla="*/ 2818874 h 2963917"/>
              <a:gd name="connsiteX26" fmla="*/ 5183702 w 5410725"/>
              <a:gd name="connsiteY26" fmla="*/ 2900855 h 2963917"/>
              <a:gd name="connsiteX27" fmla="*/ 5410725 w 5410725"/>
              <a:gd name="connsiteY27" fmla="*/ 2944999 h 2963917"/>
              <a:gd name="connsiteX28" fmla="*/ 5215233 w 5410725"/>
              <a:gd name="connsiteY28" fmla="*/ 2963917 h 2963917"/>
              <a:gd name="connsiteX29" fmla="*/ 0 w 5410725"/>
              <a:gd name="connsiteY29" fmla="*/ 2963917 h 2963917"/>
              <a:gd name="connsiteX30" fmla="*/ 0 w 5410725"/>
              <a:gd name="connsiteY30"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727900 w 5410725"/>
              <a:gd name="connsiteY12" fmla="*/ 1942312 h 2963917"/>
              <a:gd name="connsiteX13" fmla="*/ 1809881 w 5410725"/>
              <a:gd name="connsiteY13" fmla="*/ 1986455 h 2963917"/>
              <a:gd name="connsiteX14" fmla="*/ 1872943 w 5410725"/>
              <a:gd name="connsiteY14" fmla="*/ 2055823 h 2963917"/>
              <a:gd name="connsiteX15" fmla="*/ 1917087 w 5410725"/>
              <a:gd name="connsiteY15" fmla="*/ 2118886 h 2963917"/>
              <a:gd name="connsiteX16" fmla="*/ 2282847 w 5410725"/>
              <a:gd name="connsiteY16" fmla="*/ 2358521 h 2963917"/>
              <a:gd name="connsiteX17" fmla="*/ 2408971 w 5410725"/>
              <a:gd name="connsiteY17" fmla="*/ 2396359 h 2963917"/>
              <a:gd name="connsiteX18" fmla="*/ 2724281 w 5410725"/>
              <a:gd name="connsiteY18" fmla="*/ 2453114 h 2963917"/>
              <a:gd name="connsiteX19" fmla="*/ 3165716 w 5410725"/>
              <a:gd name="connsiteY19" fmla="*/ 2610770 h 2963917"/>
              <a:gd name="connsiteX20" fmla="*/ 3506251 w 5410725"/>
              <a:gd name="connsiteY20" fmla="*/ 2724281 h 2963917"/>
              <a:gd name="connsiteX21" fmla="*/ 3846786 w 5410725"/>
              <a:gd name="connsiteY21" fmla="*/ 2768425 h 2963917"/>
              <a:gd name="connsiteX22" fmla="*/ 4073809 w 5410725"/>
              <a:gd name="connsiteY22" fmla="*/ 2799956 h 2963917"/>
              <a:gd name="connsiteX23" fmla="*/ 4237771 w 5410725"/>
              <a:gd name="connsiteY23" fmla="*/ 2806262 h 2963917"/>
              <a:gd name="connsiteX24" fmla="*/ 4647674 w 5410725"/>
              <a:gd name="connsiteY24" fmla="*/ 2818874 h 2963917"/>
              <a:gd name="connsiteX25" fmla="*/ 5183702 w 5410725"/>
              <a:gd name="connsiteY25" fmla="*/ 2900855 h 2963917"/>
              <a:gd name="connsiteX26" fmla="*/ 5410725 w 5410725"/>
              <a:gd name="connsiteY26" fmla="*/ 2944999 h 2963917"/>
              <a:gd name="connsiteX27" fmla="*/ 5215233 w 5410725"/>
              <a:gd name="connsiteY27" fmla="*/ 2963917 h 2963917"/>
              <a:gd name="connsiteX28" fmla="*/ 0 w 5410725"/>
              <a:gd name="connsiteY28" fmla="*/ 2963917 h 2963917"/>
              <a:gd name="connsiteX29" fmla="*/ 0 w 5410725"/>
              <a:gd name="connsiteY29"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1727900 w 5410725"/>
              <a:gd name="connsiteY11" fmla="*/ 1942312 h 2963917"/>
              <a:gd name="connsiteX12" fmla="*/ 1809881 w 5410725"/>
              <a:gd name="connsiteY12" fmla="*/ 1986455 h 2963917"/>
              <a:gd name="connsiteX13" fmla="*/ 1872943 w 5410725"/>
              <a:gd name="connsiteY13" fmla="*/ 2055823 h 2963917"/>
              <a:gd name="connsiteX14" fmla="*/ 1917087 w 5410725"/>
              <a:gd name="connsiteY14" fmla="*/ 2118886 h 2963917"/>
              <a:gd name="connsiteX15" fmla="*/ 2282847 w 5410725"/>
              <a:gd name="connsiteY15" fmla="*/ 2358521 h 2963917"/>
              <a:gd name="connsiteX16" fmla="*/ 2408971 w 5410725"/>
              <a:gd name="connsiteY16" fmla="*/ 2396359 h 2963917"/>
              <a:gd name="connsiteX17" fmla="*/ 2724281 w 5410725"/>
              <a:gd name="connsiteY17" fmla="*/ 2453114 h 2963917"/>
              <a:gd name="connsiteX18" fmla="*/ 3165716 w 5410725"/>
              <a:gd name="connsiteY18" fmla="*/ 2610770 h 2963917"/>
              <a:gd name="connsiteX19" fmla="*/ 3506251 w 5410725"/>
              <a:gd name="connsiteY19" fmla="*/ 2724281 h 2963917"/>
              <a:gd name="connsiteX20" fmla="*/ 3846786 w 5410725"/>
              <a:gd name="connsiteY20" fmla="*/ 2768425 h 2963917"/>
              <a:gd name="connsiteX21" fmla="*/ 4073809 w 5410725"/>
              <a:gd name="connsiteY21" fmla="*/ 2799956 h 2963917"/>
              <a:gd name="connsiteX22" fmla="*/ 4237771 w 5410725"/>
              <a:gd name="connsiteY22" fmla="*/ 2806262 h 2963917"/>
              <a:gd name="connsiteX23" fmla="*/ 4647674 w 5410725"/>
              <a:gd name="connsiteY23" fmla="*/ 2818874 h 2963917"/>
              <a:gd name="connsiteX24" fmla="*/ 5183702 w 5410725"/>
              <a:gd name="connsiteY24" fmla="*/ 2900855 h 2963917"/>
              <a:gd name="connsiteX25" fmla="*/ 5410725 w 5410725"/>
              <a:gd name="connsiteY25" fmla="*/ 2944999 h 2963917"/>
              <a:gd name="connsiteX26" fmla="*/ 5215233 w 5410725"/>
              <a:gd name="connsiteY26" fmla="*/ 2963917 h 2963917"/>
              <a:gd name="connsiteX27" fmla="*/ 0 w 5410725"/>
              <a:gd name="connsiteY27" fmla="*/ 2963917 h 2963917"/>
              <a:gd name="connsiteX28" fmla="*/ 0 w 5410725"/>
              <a:gd name="connsiteY28"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1727900 w 5410725"/>
              <a:gd name="connsiteY10" fmla="*/ 1942312 h 2963917"/>
              <a:gd name="connsiteX11" fmla="*/ 1809881 w 5410725"/>
              <a:gd name="connsiteY11" fmla="*/ 1986455 h 2963917"/>
              <a:gd name="connsiteX12" fmla="*/ 1872943 w 5410725"/>
              <a:gd name="connsiteY12" fmla="*/ 2055823 h 2963917"/>
              <a:gd name="connsiteX13" fmla="*/ 1917087 w 5410725"/>
              <a:gd name="connsiteY13" fmla="*/ 2118886 h 2963917"/>
              <a:gd name="connsiteX14" fmla="*/ 2282847 w 5410725"/>
              <a:gd name="connsiteY14" fmla="*/ 2358521 h 2963917"/>
              <a:gd name="connsiteX15" fmla="*/ 2408971 w 5410725"/>
              <a:gd name="connsiteY15" fmla="*/ 2396359 h 2963917"/>
              <a:gd name="connsiteX16" fmla="*/ 2724281 w 5410725"/>
              <a:gd name="connsiteY16" fmla="*/ 2453114 h 2963917"/>
              <a:gd name="connsiteX17" fmla="*/ 3165716 w 5410725"/>
              <a:gd name="connsiteY17" fmla="*/ 2610770 h 2963917"/>
              <a:gd name="connsiteX18" fmla="*/ 3506251 w 5410725"/>
              <a:gd name="connsiteY18" fmla="*/ 2724281 h 2963917"/>
              <a:gd name="connsiteX19" fmla="*/ 3846786 w 5410725"/>
              <a:gd name="connsiteY19" fmla="*/ 2768425 h 2963917"/>
              <a:gd name="connsiteX20" fmla="*/ 4073809 w 5410725"/>
              <a:gd name="connsiteY20" fmla="*/ 2799956 h 2963917"/>
              <a:gd name="connsiteX21" fmla="*/ 4237771 w 5410725"/>
              <a:gd name="connsiteY21" fmla="*/ 2806262 h 2963917"/>
              <a:gd name="connsiteX22" fmla="*/ 4647674 w 5410725"/>
              <a:gd name="connsiteY22" fmla="*/ 2818874 h 2963917"/>
              <a:gd name="connsiteX23" fmla="*/ 5183702 w 5410725"/>
              <a:gd name="connsiteY23" fmla="*/ 2900855 h 2963917"/>
              <a:gd name="connsiteX24" fmla="*/ 5410725 w 5410725"/>
              <a:gd name="connsiteY24" fmla="*/ 2944999 h 2963917"/>
              <a:gd name="connsiteX25" fmla="*/ 5215233 w 5410725"/>
              <a:gd name="connsiteY25" fmla="*/ 2963917 h 2963917"/>
              <a:gd name="connsiteX26" fmla="*/ 0 w 5410725"/>
              <a:gd name="connsiteY26" fmla="*/ 2963917 h 2963917"/>
              <a:gd name="connsiteX27" fmla="*/ 0 w 5410725"/>
              <a:gd name="connsiteY27"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1727900 w 5410725"/>
              <a:gd name="connsiteY9" fmla="*/ 1942312 h 2963917"/>
              <a:gd name="connsiteX10" fmla="*/ 1809881 w 5410725"/>
              <a:gd name="connsiteY10" fmla="*/ 1986455 h 2963917"/>
              <a:gd name="connsiteX11" fmla="*/ 1872943 w 5410725"/>
              <a:gd name="connsiteY11" fmla="*/ 2055823 h 2963917"/>
              <a:gd name="connsiteX12" fmla="*/ 1917087 w 5410725"/>
              <a:gd name="connsiteY12" fmla="*/ 2118886 h 2963917"/>
              <a:gd name="connsiteX13" fmla="*/ 2282847 w 5410725"/>
              <a:gd name="connsiteY13" fmla="*/ 2358521 h 2963917"/>
              <a:gd name="connsiteX14" fmla="*/ 2408971 w 5410725"/>
              <a:gd name="connsiteY14" fmla="*/ 2396359 h 2963917"/>
              <a:gd name="connsiteX15" fmla="*/ 2724281 w 5410725"/>
              <a:gd name="connsiteY15" fmla="*/ 2453114 h 2963917"/>
              <a:gd name="connsiteX16" fmla="*/ 3165716 w 5410725"/>
              <a:gd name="connsiteY16" fmla="*/ 2610770 h 2963917"/>
              <a:gd name="connsiteX17" fmla="*/ 3506251 w 5410725"/>
              <a:gd name="connsiteY17" fmla="*/ 2724281 h 2963917"/>
              <a:gd name="connsiteX18" fmla="*/ 3846786 w 5410725"/>
              <a:gd name="connsiteY18" fmla="*/ 2768425 h 2963917"/>
              <a:gd name="connsiteX19" fmla="*/ 4073809 w 5410725"/>
              <a:gd name="connsiteY19" fmla="*/ 2799956 h 2963917"/>
              <a:gd name="connsiteX20" fmla="*/ 4237771 w 5410725"/>
              <a:gd name="connsiteY20" fmla="*/ 2806262 h 2963917"/>
              <a:gd name="connsiteX21" fmla="*/ 4647674 w 5410725"/>
              <a:gd name="connsiteY21" fmla="*/ 2818874 h 2963917"/>
              <a:gd name="connsiteX22" fmla="*/ 5183702 w 5410725"/>
              <a:gd name="connsiteY22" fmla="*/ 2900855 h 2963917"/>
              <a:gd name="connsiteX23" fmla="*/ 5410725 w 5410725"/>
              <a:gd name="connsiteY23" fmla="*/ 2944999 h 2963917"/>
              <a:gd name="connsiteX24" fmla="*/ 5215233 w 5410725"/>
              <a:gd name="connsiteY24" fmla="*/ 2963917 h 2963917"/>
              <a:gd name="connsiteX25" fmla="*/ 0 w 5410725"/>
              <a:gd name="connsiteY25" fmla="*/ 2963917 h 2963917"/>
              <a:gd name="connsiteX26" fmla="*/ 0 w 5410725"/>
              <a:gd name="connsiteY26"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1727900 w 5410725"/>
              <a:gd name="connsiteY8" fmla="*/ 1942312 h 2963917"/>
              <a:gd name="connsiteX9" fmla="*/ 1809881 w 5410725"/>
              <a:gd name="connsiteY9" fmla="*/ 1986455 h 2963917"/>
              <a:gd name="connsiteX10" fmla="*/ 1872943 w 5410725"/>
              <a:gd name="connsiteY10" fmla="*/ 2055823 h 2963917"/>
              <a:gd name="connsiteX11" fmla="*/ 1917087 w 5410725"/>
              <a:gd name="connsiteY11" fmla="*/ 2118886 h 2963917"/>
              <a:gd name="connsiteX12" fmla="*/ 2282847 w 5410725"/>
              <a:gd name="connsiteY12" fmla="*/ 2358521 h 2963917"/>
              <a:gd name="connsiteX13" fmla="*/ 2408971 w 5410725"/>
              <a:gd name="connsiteY13" fmla="*/ 2396359 h 2963917"/>
              <a:gd name="connsiteX14" fmla="*/ 2724281 w 5410725"/>
              <a:gd name="connsiteY14" fmla="*/ 2453114 h 2963917"/>
              <a:gd name="connsiteX15" fmla="*/ 3165716 w 5410725"/>
              <a:gd name="connsiteY15" fmla="*/ 2610770 h 2963917"/>
              <a:gd name="connsiteX16" fmla="*/ 3506251 w 5410725"/>
              <a:gd name="connsiteY16" fmla="*/ 2724281 h 2963917"/>
              <a:gd name="connsiteX17" fmla="*/ 3846786 w 5410725"/>
              <a:gd name="connsiteY17" fmla="*/ 2768425 h 2963917"/>
              <a:gd name="connsiteX18" fmla="*/ 4073809 w 5410725"/>
              <a:gd name="connsiteY18" fmla="*/ 2799956 h 2963917"/>
              <a:gd name="connsiteX19" fmla="*/ 4237771 w 5410725"/>
              <a:gd name="connsiteY19" fmla="*/ 2806262 h 2963917"/>
              <a:gd name="connsiteX20" fmla="*/ 4647674 w 5410725"/>
              <a:gd name="connsiteY20" fmla="*/ 2818874 h 2963917"/>
              <a:gd name="connsiteX21" fmla="*/ 5183702 w 5410725"/>
              <a:gd name="connsiteY21" fmla="*/ 2900855 h 2963917"/>
              <a:gd name="connsiteX22" fmla="*/ 5410725 w 5410725"/>
              <a:gd name="connsiteY22" fmla="*/ 2944999 h 2963917"/>
              <a:gd name="connsiteX23" fmla="*/ 5215233 w 5410725"/>
              <a:gd name="connsiteY23" fmla="*/ 2963917 h 2963917"/>
              <a:gd name="connsiteX24" fmla="*/ 0 w 5410725"/>
              <a:gd name="connsiteY24" fmla="*/ 2963917 h 2963917"/>
              <a:gd name="connsiteX25" fmla="*/ 0 w 5410725"/>
              <a:gd name="connsiteY25"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428822 w 5410725"/>
              <a:gd name="connsiteY6" fmla="*/ 573865 h 2963917"/>
              <a:gd name="connsiteX7" fmla="*/ 1727900 w 5410725"/>
              <a:gd name="connsiteY7" fmla="*/ 1942312 h 2963917"/>
              <a:gd name="connsiteX8" fmla="*/ 1809881 w 5410725"/>
              <a:gd name="connsiteY8" fmla="*/ 1986455 h 2963917"/>
              <a:gd name="connsiteX9" fmla="*/ 1872943 w 5410725"/>
              <a:gd name="connsiteY9" fmla="*/ 2055823 h 2963917"/>
              <a:gd name="connsiteX10" fmla="*/ 1917087 w 5410725"/>
              <a:gd name="connsiteY10" fmla="*/ 2118886 h 2963917"/>
              <a:gd name="connsiteX11" fmla="*/ 2282847 w 5410725"/>
              <a:gd name="connsiteY11" fmla="*/ 2358521 h 2963917"/>
              <a:gd name="connsiteX12" fmla="*/ 2408971 w 5410725"/>
              <a:gd name="connsiteY12" fmla="*/ 2396359 h 2963917"/>
              <a:gd name="connsiteX13" fmla="*/ 2724281 w 5410725"/>
              <a:gd name="connsiteY13" fmla="*/ 2453114 h 2963917"/>
              <a:gd name="connsiteX14" fmla="*/ 3165716 w 5410725"/>
              <a:gd name="connsiteY14" fmla="*/ 2610770 h 2963917"/>
              <a:gd name="connsiteX15" fmla="*/ 3506251 w 5410725"/>
              <a:gd name="connsiteY15" fmla="*/ 2724281 h 2963917"/>
              <a:gd name="connsiteX16" fmla="*/ 3846786 w 5410725"/>
              <a:gd name="connsiteY16" fmla="*/ 2768425 h 2963917"/>
              <a:gd name="connsiteX17" fmla="*/ 4073809 w 5410725"/>
              <a:gd name="connsiteY17" fmla="*/ 2799956 h 2963917"/>
              <a:gd name="connsiteX18" fmla="*/ 4237771 w 5410725"/>
              <a:gd name="connsiteY18" fmla="*/ 2806262 h 2963917"/>
              <a:gd name="connsiteX19" fmla="*/ 4647674 w 5410725"/>
              <a:gd name="connsiteY19" fmla="*/ 2818874 h 2963917"/>
              <a:gd name="connsiteX20" fmla="*/ 5183702 w 5410725"/>
              <a:gd name="connsiteY20" fmla="*/ 2900855 h 2963917"/>
              <a:gd name="connsiteX21" fmla="*/ 5410725 w 5410725"/>
              <a:gd name="connsiteY21" fmla="*/ 2944999 h 2963917"/>
              <a:gd name="connsiteX22" fmla="*/ 5215233 w 5410725"/>
              <a:gd name="connsiteY22" fmla="*/ 2963917 h 2963917"/>
              <a:gd name="connsiteX23" fmla="*/ 0 w 5410725"/>
              <a:gd name="connsiteY23" fmla="*/ 2963917 h 2963917"/>
              <a:gd name="connsiteX24" fmla="*/ 0 w 5410725"/>
              <a:gd name="connsiteY24"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1727900 w 5410725"/>
              <a:gd name="connsiteY6" fmla="*/ 1942312 h 2963917"/>
              <a:gd name="connsiteX7" fmla="*/ 1809881 w 5410725"/>
              <a:gd name="connsiteY7" fmla="*/ 1986455 h 2963917"/>
              <a:gd name="connsiteX8" fmla="*/ 1872943 w 5410725"/>
              <a:gd name="connsiteY8" fmla="*/ 2055823 h 2963917"/>
              <a:gd name="connsiteX9" fmla="*/ 1917087 w 5410725"/>
              <a:gd name="connsiteY9" fmla="*/ 2118886 h 2963917"/>
              <a:gd name="connsiteX10" fmla="*/ 2282847 w 5410725"/>
              <a:gd name="connsiteY10" fmla="*/ 2358521 h 2963917"/>
              <a:gd name="connsiteX11" fmla="*/ 2408971 w 5410725"/>
              <a:gd name="connsiteY11" fmla="*/ 2396359 h 2963917"/>
              <a:gd name="connsiteX12" fmla="*/ 2724281 w 5410725"/>
              <a:gd name="connsiteY12" fmla="*/ 2453114 h 2963917"/>
              <a:gd name="connsiteX13" fmla="*/ 3165716 w 5410725"/>
              <a:gd name="connsiteY13" fmla="*/ 2610770 h 2963917"/>
              <a:gd name="connsiteX14" fmla="*/ 3506251 w 5410725"/>
              <a:gd name="connsiteY14" fmla="*/ 2724281 h 2963917"/>
              <a:gd name="connsiteX15" fmla="*/ 3846786 w 5410725"/>
              <a:gd name="connsiteY15" fmla="*/ 2768425 h 2963917"/>
              <a:gd name="connsiteX16" fmla="*/ 4073809 w 5410725"/>
              <a:gd name="connsiteY16" fmla="*/ 2799956 h 2963917"/>
              <a:gd name="connsiteX17" fmla="*/ 4237771 w 5410725"/>
              <a:gd name="connsiteY17" fmla="*/ 2806262 h 2963917"/>
              <a:gd name="connsiteX18" fmla="*/ 4647674 w 5410725"/>
              <a:gd name="connsiteY18" fmla="*/ 2818874 h 2963917"/>
              <a:gd name="connsiteX19" fmla="*/ 5183702 w 5410725"/>
              <a:gd name="connsiteY19" fmla="*/ 2900855 h 2963917"/>
              <a:gd name="connsiteX20" fmla="*/ 5410725 w 5410725"/>
              <a:gd name="connsiteY20" fmla="*/ 2944999 h 2963917"/>
              <a:gd name="connsiteX21" fmla="*/ 5215233 w 5410725"/>
              <a:gd name="connsiteY21" fmla="*/ 2963917 h 2963917"/>
              <a:gd name="connsiteX22" fmla="*/ 0 w 5410725"/>
              <a:gd name="connsiteY22" fmla="*/ 2963917 h 2963917"/>
              <a:gd name="connsiteX23" fmla="*/ 0 w 5410725"/>
              <a:gd name="connsiteY23"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315310 w 5410725"/>
              <a:gd name="connsiteY4" fmla="*/ 403597 h 2963917"/>
              <a:gd name="connsiteX5" fmla="*/ 1727900 w 5410725"/>
              <a:gd name="connsiteY5" fmla="*/ 1942312 h 2963917"/>
              <a:gd name="connsiteX6" fmla="*/ 1809881 w 5410725"/>
              <a:gd name="connsiteY6" fmla="*/ 1986455 h 2963917"/>
              <a:gd name="connsiteX7" fmla="*/ 1872943 w 5410725"/>
              <a:gd name="connsiteY7" fmla="*/ 2055823 h 2963917"/>
              <a:gd name="connsiteX8" fmla="*/ 1917087 w 5410725"/>
              <a:gd name="connsiteY8" fmla="*/ 2118886 h 2963917"/>
              <a:gd name="connsiteX9" fmla="*/ 2282847 w 5410725"/>
              <a:gd name="connsiteY9" fmla="*/ 2358521 h 2963917"/>
              <a:gd name="connsiteX10" fmla="*/ 2408971 w 5410725"/>
              <a:gd name="connsiteY10" fmla="*/ 2396359 h 2963917"/>
              <a:gd name="connsiteX11" fmla="*/ 2724281 w 5410725"/>
              <a:gd name="connsiteY11" fmla="*/ 2453114 h 2963917"/>
              <a:gd name="connsiteX12" fmla="*/ 3165716 w 5410725"/>
              <a:gd name="connsiteY12" fmla="*/ 2610770 h 2963917"/>
              <a:gd name="connsiteX13" fmla="*/ 3506251 w 5410725"/>
              <a:gd name="connsiteY13" fmla="*/ 2724281 h 2963917"/>
              <a:gd name="connsiteX14" fmla="*/ 3846786 w 5410725"/>
              <a:gd name="connsiteY14" fmla="*/ 2768425 h 2963917"/>
              <a:gd name="connsiteX15" fmla="*/ 4073809 w 5410725"/>
              <a:gd name="connsiteY15" fmla="*/ 2799956 h 2963917"/>
              <a:gd name="connsiteX16" fmla="*/ 4237771 w 5410725"/>
              <a:gd name="connsiteY16" fmla="*/ 2806262 h 2963917"/>
              <a:gd name="connsiteX17" fmla="*/ 4647674 w 5410725"/>
              <a:gd name="connsiteY17" fmla="*/ 2818874 h 2963917"/>
              <a:gd name="connsiteX18" fmla="*/ 5183702 w 5410725"/>
              <a:gd name="connsiteY18" fmla="*/ 2900855 h 2963917"/>
              <a:gd name="connsiteX19" fmla="*/ 5410725 w 5410725"/>
              <a:gd name="connsiteY19" fmla="*/ 2944999 h 2963917"/>
              <a:gd name="connsiteX20" fmla="*/ 5215233 w 5410725"/>
              <a:gd name="connsiteY20" fmla="*/ 2963917 h 2963917"/>
              <a:gd name="connsiteX21" fmla="*/ 0 w 5410725"/>
              <a:gd name="connsiteY21" fmla="*/ 2963917 h 2963917"/>
              <a:gd name="connsiteX22" fmla="*/ 0 w 5410725"/>
              <a:gd name="connsiteY22" fmla="*/ 0 h 2963917"/>
              <a:gd name="connsiteX0" fmla="*/ 0 w 5410725"/>
              <a:gd name="connsiteY0" fmla="*/ 0 h 2963917"/>
              <a:gd name="connsiteX1" fmla="*/ 0 w 5410725"/>
              <a:gd name="connsiteY1" fmla="*/ 0 h 2963917"/>
              <a:gd name="connsiteX2" fmla="*/ 56756 w 5410725"/>
              <a:gd name="connsiteY2" fmla="*/ 63062 h 2963917"/>
              <a:gd name="connsiteX3" fmla="*/ 315310 w 5410725"/>
              <a:gd name="connsiteY3" fmla="*/ 403597 h 2963917"/>
              <a:gd name="connsiteX4" fmla="*/ 1727900 w 5410725"/>
              <a:gd name="connsiteY4" fmla="*/ 1942312 h 2963917"/>
              <a:gd name="connsiteX5" fmla="*/ 1809881 w 5410725"/>
              <a:gd name="connsiteY5" fmla="*/ 1986455 h 2963917"/>
              <a:gd name="connsiteX6" fmla="*/ 1872943 w 5410725"/>
              <a:gd name="connsiteY6" fmla="*/ 2055823 h 2963917"/>
              <a:gd name="connsiteX7" fmla="*/ 1917087 w 5410725"/>
              <a:gd name="connsiteY7" fmla="*/ 2118886 h 2963917"/>
              <a:gd name="connsiteX8" fmla="*/ 2282847 w 5410725"/>
              <a:gd name="connsiteY8" fmla="*/ 2358521 h 2963917"/>
              <a:gd name="connsiteX9" fmla="*/ 2408971 w 5410725"/>
              <a:gd name="connsiteY9" fmla="*/ 2396359 h 2963917"/>
              <a:gd name="connsiteX10" fmla="*/ 2724281 w 5410725"/>
              <a:gd name="connsiteY10" fmla="*/ 2453114 h 2963917"/>
              <a:gd name="connsiteX11" fmla="*/ 3165716 w 5410725"/>
              <a:gd name="connsiteY11" fmla="*/ 2610770 h 2963917"/>
              <a:gd name="connsiteX12" fmla="*/ 3506251 w 5410725"/>
              <a:gd name="connsiteY12" fmla="*/ 2724281 h 2963917"/>
              <a:gd name="connsiteX13" fmla="*/ 3846786 w 5410725"/>
              <a:gd name="connsiteY13" fmla="*/ 2768425 h 2963917"/>
              <a:gd name="connsiteX14" fmla="*/ 4073809 w 5410725"/>
              <a:gd name="connsiteY14" fmla="*/ 2799956 h 2963917"/>
              <a:gd name="connsiteX15" fmla="*/ 4237771 w 5410725"/>
              <a:gd name="connsiteY15" fmla="*/ 2806262 h 2963917"/>
              <a:gd name="connsiteX16" fmla="*/ 4647674 w 5410725"/>
              <a:gd name="connsiteY16" fmla="*/ 2818874 h 2963917"/>
              <a:gd name="connsiteX17" fmla="*/ 5183702 w 5410725"/>
              <a:gd name="connsiteY17" fmla="*/ 2900855 h 2963917"/>
              <a:gd name="connsiteX18" fmla="*/ 5410725 w 5410725"/>
              <a:gd name="connsiteY18" fmla="*/ 2944999 h 2963917"/>
              <a:gd name="connsiteX19" fmla="*/ 5215233 w 5410725"/>
              <a:gd name="connsiteY19" fmla="*/ 2963917 h 2963917"/>
              <a:gd name="connsiteX20" fmla="*/ 0 w 5410725"/>
              <a:gd name="connsiteY20" fmla="*/ 2963917 h 2963917"/>
              <a:gd name="connsiteX21" fmla="*/ 0 w 5410725"/>
              <a:gd name="connsiteY21" fmla="*/ 0 h 2963917"/>
              <a:gd name="connsiteX0" fmla="*/ 0 w 5410725"/>
              <a:gd name="connsiteY0" fmla="*/ 0 h 2963917"/>
              <a:gd name="connsiteX1" fmla="*/ 0 w 5410725"/>
              <a:gd name="connsiteY1" fmla="*/ 0 h 2963917"/>
              <a:gd name="connsiteX2" fmla="*/ 315310 w 5410725"/>
              <a:gd name="connsiteY2" fmla="*/ 403597 h 2963917"/>
              <a:gd name="connsiteX3" fmla="*/ 1727900 w 5410725"/>
              <a:gd name="connsiteY3" fmla="*/ 1942312 h 2963917"/>
              <a:gd name="connsiteX4" fmla="*/ 1809881 w 5410725"/>
              <a:gd name="connsiteY4" fmla="*/ 1986455 h 2963917"/>
              <a:gd name="connsiteX5" fmla="*/ 1872943 w 5410725"/>
              <a:gd name="connsiteY5" fmla="*/ 2055823 h 2963917"/>
              <a:gd name="connsiteX6" fmla="*/ 1917087 w 5410725"/>
              <a:gd name="connsiteY6" fmla="*/ 2118886 h 2963917"/>
              <a:gd name="connsiteX7" fmla="*/ 2282847 w 5410725"/>
              <a:gd name="connsiteY7" fmla="*/ 2358521 h 2963917"/>
              <a:gd name="connsiteX8" fmla="*/ 2408971 w 5410725"/>
              <a:gd name="connsiteY8" fmla="*/ 2396359 h 2963917"/>
              <a:gd name="connsiteX9" fmla="*/ 2724281 w 5410725"/>
              <a:gd name="connsiteY9" fmla="*/ 2453114 h 2963917"/>
              <a:gd name="connsiteX10" fmla="*/ 3165716 w 5410725"/>
              <a:gd name="connsiteY10" fmla="*/ 2610770 h 2963917"/>
              <a:gd name="connsiteX11" fmla="*/ 3506251 w 5410725"/>
              <a:gd name="connsiteY11" fmla="*/ 2724281 h 2963917"/>
              <a:gd name="connsiteX12" fmla="*/ 3846786 w 5410725"/>
              <a:gd name="connsiteY12" fmla="*/ 2768425 h 2963917"/>
              <a:gd name="connsiteX13" fmla="*/ 4073809 w 5410725"/>
              <a:gd name="connsiteY13" fmla="*/ 2799956 h 2963917"/>
              <a:gd name="connsiteX14" fmla="*/ 4237771 w 5410725"/>
              <a:gd name="connsiteY14" fmla="*/ 2806262 h 2963917"/>
              <a:gd name="connsiteX15" fmla="*/ 4647674 w 5410725"/>
              <a:gd name="connsiteY15" fmla="*/ 2818874 h 2963917"/>
              <a:gd name="connsiteX16" fmla="*/ 5183702 w 5410725"/>
              <a:gd name="connsiteY16" fmla="*/ 2900855 h 2963917"/>
              <a:gd name="connsiteX17" fmla="*/ 5410725 w 5410725"/>
              <a:gd name="connsiteY17" fmla="*/ 2944999 h 2963917"/>
              <a:gd name="connsiteX18" fmla="*/ 5215233 w 5410725"/>
              <a:gd name="connsiteY18" fmla="*/ 2963917 h 2963917"/>
              <a:gd name="connsiteX19" fmla="*/ 0 w 5410725"/>
              <a:gd name="connsiteY19" fmla="*/ 2963917 h 2963917"/>
              <a:gd name="connsiteX20" fmla="*/ 0 w 5410725"/>
              <a:gd name="connsiteY20" fmla="*/ 0 h 2963917"/>
              <a:gd name="connsiteX0" fmla="*/ 0 w 5410725"/>
              <a:gd name="connsiteY0" fmla="*/ 0 h 2963917"/>
              <a:gd name="connsiteX1" fmla="*/ 0 w 5410725"/>
              <a:gd name="connsiteY1" fmla="*/ 0 h 2963917"/>
              <a:gd name="connsiteX2" fmla="*/ 1727900 w 5410725"/>
              <a:gd name="connsiteY2" fmla="*/ 1942312 h 2963917"/>
              <a:gd name="connsiteX3" fmla="*/ 1809881 w 5410725"/>
              <a:gd name="connsiteY3" fmla="*/ 1986455 h 2963917"/>
              <a:gd name="connsiteX4" fmla="*/ 1872943 w 5410725"/>
              <a:gd name="connsiteY4" fmla="*/ 2055823 h 2963917"/>
              <a:gd name="connsiteX5" fmla="*/ 1917087 w 5410725"/>
              <a:gd name="connsiteY5" fmla="*/ 2118886 h 2963917"/>
              <a:gd name="connsiteX6" fmla="*/ 2282847 w 5410725"/>
              <a:gd name="connsiteY6" fmla="*/ 2358521 h 2963917"/>
              <a:gd name="connsiteX7" fmla="*/ 2408971 w 5410725"/>
              <a:gd name="connsiteY7" fmla="*/ 2396359 h 2963917"/>
              <a:gd name="connsiteX8" fmla="*/ 2724281 w 5410725"/>
              <a:gd name="connsiteY8" fmla="*/ 2453114 h 2963917"/>
              <a:gd name="connsiteX9" fmla="*/ 3165716 w 5410725"/>
              <a:gd name="connsiteY9" fmla="*/ 2610770 h 2963917"/>
              <a:gd name="connsiteX10" fmla="*/ 3506251 w 5410725"/>
              <a:gd name="connsiteY10" fmla="*/ 2724281 h 2963917"/>
              <a:gd name="connsiteX11" fmla="*/ 3846786 w 5410725"/>
              <a:gd name="connsiteY11" fmla="*/ 2768425 h 2963917"/>
              <a:gd name="connsiteX12" fmla="*/ 4073809 w 5410725"/>
              <a:gd name="connsiteY12" fmla="*/ 2799956 h 2963917"/>
              <a:gd name="connsiteX13" fmla="*/ 4237771 w 5410725"/>
              <a:gd name="connsiteY13" fmla="*/ 2806262 h 2963917"/>
              <a:gd name="connsiteX14" fmla="*/ 4647674 w 5410725"/>
              <a:gd name="connsiteY14" fmla="*/ 2818874 h 2963917"/>
              <a:gd name="connsiteX15" fmla="*/ 5183702 w 5410725"/>
              <a:gd name="connsiteY15" fmla="*/ 2900855 h 2963917"/>
              <a:gd name="connsiteX16" fmla="*/ 5410725 w 5410725"/>
              <a:gd name="connsiteY16" fmla="*/ 2944999 h 2963917"/>
              <a:gd name="connsiteX17" fmla="*/ 5215233 w 5410725"/>
              <a:gd name="connsiteY17" fmla="*/ 2963917 h 2963917"/>
              <a:gd name="connsiteX18" fmla="*/ 0 w 5410725"/>
              <a:gd name="connsiteY18" fmla="*/ 2963917 h 2963917"/>
              <a:gd name="connsiteX19" fmla="*/ 0 w 5410725"/>
              <a:gd name="connsiteY19" fmla="*/ 0 h 2963917"/>
              <a:gd name="connsiteX0" fmla="*/ 0 w 5410725"/>
              <a:gd name="connsiteY0" fmla="*/ 0 h 2963917"/>
              <a:gd name="connsiteX1" fmla="*/ 0 w 5410725"/>
              <a:gd name="connsiteY1" fmla="*/ 0 h 2963917"/>
              <a:gd name="connsiteX2" fmla="*/ 1727900 w 5410725"/>
              <a:gd name="connsiteY2" fmla="*/ 1942312 h 2963917"/>
              <a:gd name="connsiteX3" fmla="*/ 1872943 w 5410725"/>
              <a:gd name="connsiteY3" fmla="*/ 2055823 h 2963917"/>
              <a:gd name="connsiteX4" fmla="*/ 1917087 w 5410725"/>
              <a:gd name="connsiteY4" fmla="*/ 2118886 h 2963917"/>
              <a:gd name="connsiteX5" fmla="*/ 2282847 w 5410725"/>
              <a:gd name="connsiteY5" fmla="*/ 2358521 h 2963917"/>
              <a:gd name="connsiteX6" fmla="*/ 2408971 w 5410725"/>
              <a:gd name="connsiteY6" fmla="*/ 2396359 h 2963917"/>
              <a:gd name="connsiteX7" fmla="*/ 2724281 w 5410725"/>
              <a:gd name="connsiteY7" fmla="*/ 2453114 h 2963917"/>
              <a:gd name="connsiteX8" fmla="*/ 3165716 w 5410725"/>
              <a:gd name="connsiteY8" fmla="*/ 2610770 h 2963917"/>
              <a:gd name="connsiteX9" fmla="*/ 3506251 w 5410725"/>
              <a:gd name="connsiteY9" fmla="*/ 2724281 h 2963917"/>
              <a:gd name="connsiteX10" fmla="*/ 3846786 w 5410725"/>
              <a:gd name="connsiteY10" fmla="*/ 2768425 h 2963917"/>
              <a:gd name="connsiteX11" fmla="*/ 4073809 w 5410725"/>
              <a:gd name="connsiteY11" fmla="*/ 2799956 h 2963917"/>
              <a:gd name="connsiteX12" fmla="*/ 4237771 w 5410725"/>
              <a:gd name="connsiteY12" fmla="*/ 2806262 h 2963917"/>
              <a:gd name="connsiteX13" fmla="*/ 4647674 w 5410725"/>
              <a:gd name="connsiteY13" fmla="*/ 2818874 h 2963917"/>
              <a:gd name="connsiteX14" fmla="*/ 5183702 w 5410725"/>
              <a:gd name="connsiteY14" fmla="*/ 2900855 h 2963917"/>
              <a:gd name="connsiteX15" fmla="*/ 5410725 w 5410725"/>
              <a:gd name="connsiteY15" fmla="*/ 2944999 h 2963917"/>
              <a:gd name="connsiteX16" fmla="*/ 5215233 w 5410725"/>
              <a:gd name="connsiteY16" fmla="*/ 2963917 h 2963917"/>
              <a:gd name="connsiteX17" fmla="*/ 0 w 5410725"/>
              <a:gd name="connsiteY17" fmla="*/ 2963917 h 2963917"/>
              <a:gd name="connsiteX18" fmla="*/ 0 w 5410725"/>
              <a:gd name="connsiteY18" fmla="*/ 0 h 2963917"/>
              <a:gd name="connsiteX0" fmla="*/ 0 w 5410725"/>
              <a:gd name="connsiteY0" fmla="*/ 0 h 2963917"/>
              <a:gd name="connsiteX1" fmla="*/ 0 w 5410725"/>
              <a:gd name="connsiteY1" fmla="*/ 0 h 2963917"/>
              <a:gd name="connsiteX2" fmla="*/ 1727900 w 5410725"/>
              <a:gd name="connsiteY2" fmla="*/ 1942312 h 2963917"/>
              <a:gd name="connsiteX3" fmla="*/ 1917087 w 5410725"/>
              <a:gd name="connsiteY3" fmla="*/ 2118886 h 2963917"/>
              <a:gd name="connsiteX4" fmla="*/ 2282847 w 5410725"/>
              <a:gd name="connsiteY4" fmla="*/ 2358521 h 2963917"/>
              <a:gd name="connsiteX5" fmla="*/ 2408971 w 5410725"/>
              <a:gd name="connsiteY5" fmla="*/ 2396359 h 2963917"/>
              <a:gd name="connsiteX6" fmla="*/ 2724281 w 5410725"/>
              <a:gd name="connsiteY6" fmla="*/ 2453114 h 2963917"/>
              <a:gd name="connsiteX7" fmla="*/ 3165716 w 5410725"/>
              <a:gd name="connsiteY7" fmla="*/ 2610770 h 2963917"/>
              <a:gd name="connsiteX8" fmla="*/ 3506251 w 5410725"/>
              <a:gd name="connsiteY8" fmla="*/ 2724281 h 2963917"/>
              <a:gd name="connsiteX9" fmla="*/ 3846786 w 5410725"/>
              <a:gd name="connsiteY9" fmla="*/ 2768425 h 2963917"/>
              <a:gd name="connsiteX10" fmla="*/ 4073809 w 5410725"/>
              <a:gd name="connsiteY10" fmla="*/ 2799956 h 2963917"/>
              <a:gd name="connsiteX11" fmla="*/ 4237771 w 5410725"/>
              <a:gd name="connsiteY11" fmla="*/ 2806262 h 2963917"/>
              <a:gd name="connsiteX12" fmla="*/ 4647674 w 5410725"/>
              <a:gd name="connsiteY12" fmla="*/ 2818874 h 2963917"/>
              <a:gd name="connsiteX13" fmla="*/ 5183702 w 5410725"/>
              <a:gd name="connsiteY13" fmla="*/ 2900855 h 2963917"/>
              <a:gd name="connsiteX14" fmla="*/ 5410725 w 5410725"/>
              <a:gd name="connsiteY14" fmla="*/ 2944999 h 2963917"/>
              <a:gd name="connsiteX15" fmla="*/ 5215233 w 5410725"/>
              <a:gd name="connsiteY15" fmla="*/ 2963917 h 2963917"/>
              <a:gd name="connsiteX16" fmla="*/ 0 w 5410725"/>
              <a:gd name="connsiteY16" fmla="*/ 2963917 h 2963917"/>
              <a:gd name="connsiteX17" fmla="*/ 0 w 5410725"/>
              <a:gd name="connsiteY17" fmla="*/ 0 h 2963917"/>
              <a:gd name="connsiteX0" fmla="*/ 0 w 5410725"/>
              <a:gd name="connsiteY0" fmla="*/ 0 h 2963917"/>
              <a:gd name="connsiteX1" fmla="*/ 0 w 5410725"/>
              <a:gd name="connsiteY1" fmla="*/ 0 h 2963917"/>
              <a:gd name="connsiteX2" fmla="*/ 1727900 w 5410725"/>
              <a:gd name="connsiteY2" fmla="*/ 1942312 h 2963917"/>
              <a:gd name="connsiteX3" fmla="*/ 2282847 w 5410725"/>
              <a:gd name="connsiteY3" fmla="*/ 2358521 h 2963917"/>
              <a:gd name="connsiteX4" fmla="*/ 2408971 w 5410725"/>
              <a:gd name="connsiteY4" fmla="*/ 2396359 h 2963917"/>
              <a:gd name="connsiteX5" fmla="*/ 2724281 w 5410725"/>
              <a:gd name="connsiteY5" fmla="*/ 2453114 h 2963917"/>
              <a:gd name="connsiteX6" fmla="*/ 3165716 w 5410725"/>
              <a:gd name="connsiteY6" fmla="*/ 2610770 h 2963917"/>
              <a:gd name="connsiteX7" fmla="*/ 3506251 w 5410725"/>
              <a:gd name="connsiteY7" fmla="*/ 2724281 h 2963917"/>
              <a:gd name="connsiteX8" fmla="*/ 3846786 w 5410725"/>
              <a:gd name="connsiteY8" fmla="*/ 2768425 h 2963917"/>
              <a:gd name="connsiteX9" fmla="*/ 4073809 w 5410725"/>
              <a:gd name="connsiteY9" fmla="*/ 2799956 h 2963917"/>
              <a:gd name="connsiteX10" fmla="*/ 4237771 w 5410725"/>
              <a:gd name="connsiteY10" fmla="*/ 2806262 h 2963917"/>
              <a:gd name="connsiteX11" fmla="*/ 4647674 w 5410725"/>
              <a:gd name="connsiteY11" fmla="*/ 2818874 h 2963917"/>
              <a:gd name="connsiteX12" fmla="*/ 5183702 w 5410725"/>
              <a:gd name="connsiteY12" fmla="*/ 2900855 h 2963917"/>
              <a:gd name="connsiteX13" fmla="*/ 5410725 w 5410725"/>
              <a:gd name="connsiteY13" fmla="*/ 2944999 h 2963917"/>
              <a:gd name="connsiteX14" fmla="*/ 5215233 w 5410725"/>
              <a:gd name="connsiteY14" fmla="*/ 2963917 h 2963917"/>
              <a:gd name="connsiteX15" fmla="*/ 0 w 5410725"/>
              <a:gd name="connsiteY15" fmla="*/ 2963917 h 2963917"/>
              <a:gd name="connsiteX16" fmla="*/ 0 w 5410725"/>
              <a:gd name="connsiteY16" fmla="*/ 0 h 2963917"/>
              <a:gd name="connsiteX0" fmla="*/ 0 w 5612322"/>
              <a:gd name="connsiteY0" fmla="*/ 0 h 2963917"/>
              <a:gd name="connsiteX1" fmla="*/ 0 w 5612322"/>
              <a:gd name="connsiteY1" fmla="*/ 0 h 2963917"/>
              <a:gd name="connsiteX2" fmla="*/ 1727900 w 5612322"/>
              <a:gd name="connsiteY2" fmla="*/ 1942312 h 2963917"/>
              <a:gd name="connsiteX3" fmla="*/ 2282847 w 5612322"/>
              <a:gd name="connsiteY3" fmla="*/ 2358521 h 2963917"/>
              <a:gd name="connsiteX4" fmla="*/ 2408971 w 5612322"/>
              <a:gd name="connsiteY4" fmla="*/ 2396359 h 2963917"/>
              <a:gd name="connsiteX5" fmla="*/ 2724281 w 5612322"/>
              <a:gd name="connsiteY5" fmla="*/ 2453114 h 2963917"/>
              <a:gd name="connsiteX6" fmla="*/ 3165716 w 5612322"/>
              <a:gd name="connsiteY6" fmla="*/ 2610770 h 2963917"/>
              <a:gd name="connsiteX7" fmla="*/ 3506251 w 5612322"/>
              <a:gd name="connsiteY7" fmla="*/ 2724281 h 2963917"/>
              <a:gd name="connsiteX8" fmla="*/ 3846786 w 5612322"/>
              <a:gd name="connsiteY8" fmla="*/ 2768425 h 2963917"/>
              <a:gd name="connsiteX9" fmla="*/ 4073809 w 5612322"/>
              <a:gd name="connsiteY9" fmla="*/ 2799956 h 2963917"/>
              <a:gd name="connsiteX10" fmla="*/ 4237771 w 5612322"/>
              <a:gd name="connsiteY10" fmla="*/ 2806262 h 2963917"/>
              <a:gd name="connsiteX11" fmla="*/ 4647674 w 5612322"/>
              <a:gd name="connsiteY11" fmla="*/ 2818874 h 2963917"/>
              <a:gd name="connsiteX12" fmla="*/ 5183702 w 5612322"/>
              <a:gd name="connsiteY12" fmla="*/ 2900855 h 2963917"/>
              <a:gd name="connsiteX13" fmla="*/ 5215233 w 5612322"/>
              <a:gd name="connsiteY13" fmla="*/ 2963917 h 2963917"/>
              <a:gd name="connsiteX14" fmla="*/ 0 w 5612322"/>
              <a:gd name="connsiteY14" fmla="*/ 2963917 h 2963917"/>
              <a:gd name="connsiteX15" fmla="*/ 0 w 5612322"/>
              <a:gd name="connsiteY15" fmla="*/ 0 h 2963917"/>
              <a:gd name="connsiteX0" fmla="*/ 0 w 5476421"/>
              <a:gd name="connsiteY0" fmla="*/ 0 h 2963917"/>
              <a:gd name="connsiteX1" fmla="*/ 0 w 5476421"/>
              <a:gd name="connsiteY1" fmla="*/ 0 h 2963917"/>
              <a:gd name="connsiteX2" fmla="*/ 1727900 w 5476421"/>
              <a:gd name="connsiteY2" fmla="*/ 1942312 h 2963917"/>
              <a:gd name="connsiteX3" fmla="*/ 2282847 w 5476421"/>
              <a:gd name="connsiteY3" fmla="*/ 2358521 h 2963917"/>
              <a:gd name="connsiteX4" fmla="*/ 2408971 w 5476421"/>
              <a:gd name="connsiteY4" fmla="*/ 2396359 h 2963917"/>
              <a:gd name="connsiteX5" fmla="*/ 2724281 w 5476421"/>
              <a:gd name="connsiteY5" fmla="*/ 2453114 h 2963917"/>
              <a:gd name="connsiteX6" fmla="*/ 3165716 w 5476421"/>
              <a:gd name="connsiteY6" fmla="*/ 2610770 h 2963917"/>
              <a:gd name="connsiteX7" fmla="*/ 3506251 w 5476421"/>
              <a:gd name="connsiteY7" fmla="*/ 2724281 h 2963917"/>
              <a:gd name="connsiteX8" fmla="*/ 3846786 w 5476421"/>
              <a:gd name="connsiteY8" fmla="*/ 2768425 h 2963917"/>
              <a:gd name="connsiteX9" fmla="*/ 4073809 w 5476421"/>
              <a:gd name="connsiteY9" fmla="*/ 2799956 h 2963917"/>
              <a:gd name="connsiteX10" fmla="*/ 4237771 w 5476421"/>
              <a:gd name="connsiteY10" fmla="*/ 2806262 h 2963917"/>
              <a:gd name="connsiteX11" fmla="*/ 4647674 w 5476421"/>
              <a:gd name="connsiteY11" fmla="*/ 2818874 h 2963917"/>
              <a:gd name="connsiteX12" fmla="*/ 5215233 w 5476421"/>
              <a:gd name="connsiteY12" fmla="*/ 2963917 h 2963917"/>
              <a:gd name="connsiteX13" fmla="*/ 0 w 5476421"/>
              <a:gd name="connsiteY13" fmla="*/ 2963917 h 2963917"/>
              <a:gd name="connsiteX14" fmla="*/ 0 w 5476421"/>
              <a:gd name="connsiteY14" fmla="*/ 0 h 2963917"/>
              <a:gd name="connsiteX0" fmla="*/ 0 w 5215233"/>
              <a:gd name="connsiteY0" fmla="*/ 0 h 2963917"/>
              <a:gd name="connsiteX1" fmla="*/ 0 w 5215233"/>
              <a:gd name="connsiteY1" fmla="*/ 0 h 2963917"/>
              <a:gd name="connsiteX2" fmla="*/ 1727900 w 5215233"/>
              <a:gd name="connsiteY2" fmla="*/ 1942312 h 2963917"/>
              <a:gd name="connsiteX3" fmla="*/ 2282847 w 5215233"/>
              <a:gd name="connsiteY3" fmla="*/ 2358521 h 2963917"/>
              <a:gd name="connsiteX4" fmla="*/ 2408971 w 5215233"/>
              <a:gd name="connsiteY4" fmla="*/ 2396359 h 2963917"/>
              <a:gd name="connsiteX5" fmla="*/ 2724281 w 5215233"/>
              <a:gd name="connsiteY5" fmla="*/ 2453114 h 2963917"/>
              <a:gd name="connsiteX6" fmla="*/ 3165716 w 5215233"/>
              <a:gd name="connsiteY6" fmla="*/ 2610770 h 2963917"/>
              <a:gd name="connsiteX7" fmla="*/ 3506251 w 5215233"/>
              <a:gd name="connsiteY7" fmla="*/ 2724281 h 2963917"/>
              <a:gd name="connsiteX8" fmla="*/ 3846786 w 5215233"/>
              <a:gd name="connsiteY8" fmla="*/ 2768425 h 2963917"/>
              <a:gd name="connsiteX9" fmla="*/ 4073809 w 5215233"/>
              <a:gd name="connsiteY9" fmla="*/ 2799956 h 2963917"/>
              <a:gd name="connsiteX10" fmla="*/ 4237771 w 5215233"/>
              <a:gd name="connsiteY10" fmla="*/ 2806262 h 2963917"/>
              <a:gd name="connsiteX11" fmla="*/ 5215233 w 5215233"/>
              <a:gd name="connsiteY11" fmla="*/ 2963917 h 2963917"/>
              <a:gd name="connsiteX12" fmla="*/ 0 w 5215233"/>
              <a:gd name="connsiteY12" fmla="*/ 2963917 h 2963917"/>
              <a:gd name="connsiteX13" fmla="*/ 0 w 5215233"/>
              <a:gd name="connsiteY13" fmla="*/ 0 h 2963917"/>
              <a:gd name="connsiteX0" fmla="*/ 0 w 5382510"/>
              <a:gd name="connsiteY0" fmla="*/ 0 h 2963917"/>
              <a:gd name="connsiteX1" fmla="*/ 0 w 5382510"/>
              <a:gd name="connsiteY1" fmla="*/ 0 h 2963917"/>
              <a:gd name="connsiteX2" fmla="*/ 1727900 w 5382510"/>
              <a:gd name="connsiteY2" fmla="*/ 1942312 h 2963917"/>
              <a:gd name="connsiteX3" fmla="*/ 2282847 w 5382510"/>
              <a:gd name="connsiteY3" fmla="*/ 2358521 h 2963917"/>
              <a:gd name="connsiteX4" fmla="*/ 2408971 w 5382510"/>
              <a:gd name="connsiteY4" fmla="*/ 2396359 h 2963917"/>
              <a:gd name="connsiteX5" fmla="*/ 2724281 w 5382510"/>
              <a:gd name="connsiteY5" fmla="*/ 2453114 h 2963917"/>
              <a:gd name="connsiteX6" fmla="*/ 3165716 w 5382510"/>
              <a:gd name="connsiteY6" fmla="*/ 2610770 h 2963917"/>
              <a:gd name="connsiteX7" fmla="*/ 3506251 w 5382510"/>
              <a:gd name="connsiteY7" fmla="*/ 2724281 h 2963917"/>
              <a:gd name="connsiteX8" fmla="*/ 3846786 w 5382510"/>
              <a:gd name="connsiteY8" fmla="*/ 2768425 h 2963917"/>
              <a:gd name="connsiteX9" fmla="*/ 4073809 w 5382510"/>
              <a:gd name="connsiteY9" fmla="*/ 2799956 h 2963917"/>
              <a:gd name="connsiteX10" fmla="*/ 5215233 w 5382510"/>
              <a:gd name="connsiteY10" fmla="*/ 2963917 h 2963917"/>
              <a:gd name="connsiteX11" fmla="*/ 0 w 5382510"/>
              <a:gd name="connsiteY11" fmla="*/ 2963917 h 2963917"/>
              <a:gd name="connsiteX12" fmla="*/ 0 w 5382510"/>
              <a:gd name="connsiteY12" fmla="*/ 0 h 2963917"/>
              <a:gd name="connsiteX0" fmla="*/ 0 w 5357010"/>
              <a:gd name="connsiteY0" fmla="*/ 0 h 2963917"/>
              <a:gd name="connsiteX1" fmla="*/ 0 w 5357010"/>
              <a:gd name="connsiteY1" fmla="*/ 0 h 2963917"/>
              <a:gd name="connsiteX2" fmla="*/ 1727900 w 5357010"/>
              <a:gd name="connsiteY2" fmla="*/ 1942312 h 2963917"/>
              <a:gd name="connsiteX3" fmla="*/ 2282847 w 5357010"/>
              <a:gd name="connsiteY3" fmla="*/ 2358521 h 2963917"/>
              <a:gd name="connsiteX4" fmla="*/ 2408971 w 5357010"/>
              <a:gd name="connsiteY4" fmla="*/ 2396359 h 2963917"/>
              <a:gd name="connsiteX5" fmla="*/ 2724281 w 5357010"/>
              <a:gd name="connsiteY5" fmla="*/ 2453114 h 2963917"/>
              <a:gd name="connsiteX6" fmla="*/ 3165716 w 5357010"/>
              <a:gd name="connsiteY6" fmla="*/ 2610770 h 2963917"/>
              <a:gd name="connsiteX7" fmla="*/ 3506251 w 5357010"/>
              <a:gd name="connsiteY7" fmla="*/ 2724281 h 2963917"/>
              <a:gd name="connsiteX8" fmla="*/ 3846786 w 5357010"/>
              <a:gd name="connsiteY8" fmla="*/ 2768425 h 2963917"/>
              <a:gd name="connsiteX9" fmla="*/ 5215233 w 5357010"/>
              <a:gd name="connsiteY9" fmla="*/ 2963917 h 2963917"/>
              <a:gd name="connsiteX10" fmla="*/ 0 w 5357010"/>
              <a:gd name="connsiteY10" fmla="*/ 2963917 h 2963917"/>
              <a:gd name="connsiteX11" fmla="*/ 0 w 5357010"/>
              <a:gd name="connsiteY11" fmla="*/ 0 h 2963917"/>
              <a:gd name="connsiteX0" fmla="*/ 0 w 5323675"/>
              <a:gd name="connsiteY0" fmla="*/ 0 h 2963917"/>
              <a:gd name="connsiteX1" fmla="*/ 0 w 5323675"/>
              <a:gd name="connsiteY1" fmla="*/ 0 h 2963917"/>
              <a:gd name="connsiteX2" fmla="*/ 1727900 w 5323675"/>
              <a:gd name="connsiteY2" fmla="*/ 1942312 h 2963917"/>
              <a:gd name="connsiteX3" fmla="*/ 2282847 w 5323675"/>
              <a:gd name="connsiteY3" fmla="*/ 2358521 h 2963917"/>
              <a:gd name="connsiteX4" fmla="*/ 2408971 w 5323675"/>
              <a:gd name="connsiteY4" fmla="*/ 2396359 h 2963917"/>
              <a:gd name="connsiteX5" fmla="*/ 2724281 w 5323675"/>
              <a:gd name="connsiteY5" fmla="*/ 2453114 h 2963917"/>
              <a:gd name="connsiteX6" fmla="*/ 3165716 w 5323675"/>
              <a:gd name="connsiteY6" fmla="*/ 2610770 h 2963917"/>
              <a:gd name="connsiteX7" fmla="*/ 3506251 w 5323675"/>
              <a:gd name="connsiteY7" fmla="*/ 2724281 h 2963917"/>
              <a:gd name="connsiteX8" fmla="*/ 5215233 w 5323675"/>
              <a:gd name="connsiteY8" fmla="*/ 2963917 h 2963917"/>
              <a:gd name="connsiteX9" fmla="*/ 0 w 5323675"/>
              <a:gd name="connsiteY9" fmla="*/ 2963917 h 2963917"/>
              <a:gd name="connsiteX10" fmla="*/ 0 w 5323675"/>
              <a:gd name="connsiteY10" fmla="*/ 0 h 2963917"/>
              <a:gd name="connsiteX0" fmla="*/ 0 w 5297656"/>
              <a:gd name="connsiteY0" fmla="*/ 0 h 2963917"/>
              <a:gd name="connsiteX1" fmla="*/ 0 w 5297656"/>
              <a:gd name="connsiteY1" fmla="*/ 0 h 2963917"/>
              <a:gd name="connsiteX2" fmla="*/ 1727900 w 5297656"/>
              <a:gd name="connsiteY2" fmla="*/ 1942312 h 2963917"/>
              <a:gd name="connsiteX3" fmla="*/ 2282847 w 5297656"/>
              <a:gd name="connsiteY3" fmla="*/ 2358521 h 2963917"/>
              <a:gd name="connsiteX4" fmla="*/ 2408971 w 5297656"/>
              <a:gd name="connsiteY4" fmla="*/ 2396359 h 2963917"/>
              <a:gd name="connsiteX5" fmla="*/ 2724281 w 5297656"/>
              <a:gd name="connsiteY5" fmla="*/ 2453114 h 2963917"/>
              <a:gd name="connsiteX6" fmla="*/ 3165716 w 5297656"/>
              <a:gd name="connsiteY6" fmla="*/ 2610770 h 2963917"/>
              <a:gd name="connsiteX7" fmla="*/ 5215233 w 5297656"/>
              <a:gd name="connsiteY7" fmla="*/ 2963917 h 2963917"/>
              <a:gd name="connsiteX8" fmla="*/ 0 w 5297656"/>
              <a:gd name="connsiteY8" fmla="*/ 2963917 h 2963917"/>
              <a:gd name="connsiteX9" fmla="*/ 0 w 5297656"/>
              <a:gd name="connsiteY9" fmla="*/ 0 h 2963917"/>
              <a:gd name="connsiteX0" fmla="*/ 0 w 5270534"/>
              <a:gd name="connsiteY0" fmla="*/ 0 h 2963917"/>
              <a:gd name="connsiteX1" fmla="*/ 0 w 5270534"/>
              <a:gd name="connsiteY1" fmla="*/ 0 h 2963917"/>
              <a:gd name="connsiteX2" fmla="*/ 1727900 w 5270534"/>
              <a:gd name="connsiteY2" fmla="*/ 1942312 h 2963917"/>
              <a:gd name="connsiteX3" fmla="*/ 2282847 w 5270534"/>
              <a:gd name="connsiteY3" fmla="*/ 2358521 h 2963917"/>
              <a:gd name="connsiteX4" fmla="*/ 2408971 w 5270534"/>
              <a:gd name="connsiteY4" fmla="*/ 2396359 h 2963917"/>
              <a:gd name="connsiteX5" fmla="*/ 2724281 w 5270534"/>
              <a:gd name="connsiteY5" fmla="*/ 2453114 h 2963917"/>
              <a:gd name="connsiteX6" fmla="*/ 5215233 w 5270534"/>
              <a:gd name="connsiteY6" fmla="*/ 2963917 h 2963917"/>
              <a:gd name="connsiteX7" fmla="*/ 0 w 5270534"/>
              <a:gd name="connsiteY7" fmla="*/ 2963917 h 2963917"/>
              <a:gd name="connsiteX8" fmla="*/ 0 w 5270534"/>
              <a:gd name="connsiteY8" fmla="*/ 0 h 2963917"/>
              <a:gd name="connsiteX0" fmla="*/ 0 w 5255533"/>
              <a:gd name="connsiteY0" fmla="*/ 0 h 2963917"/>
              <a:gd name="connsiteX1" fmla="*/ 0 w 5255533"/>
              <a:gd name="connsiteY1" fmla="*/ 0 h 2963917"/>
              <a:gd name="connsiteX2" fmla="*/ 1727900 w 5255533"/>
              <a:gd name="connsiteY2" fmla="*/ 1942312 h 2963917"/>
              <a:gd name="connsiteX3" fmla="*/ 2282847 w 5255533"/>
              <a:gd name="connsiteY3" fmla="*/ 2358521 h 2963917"/>
              <a:gd name="connsiteX4" fmla="*/ 2408971 w 5255533"/>
              <a:gd name="connsiteY4" fmla="*/ 2396359 h 2963917"/>
              <a:gd name="connsiteX5" fmla="*/ 5215233 w 5255533"/>
              <a:gd name="connsiteY5" fmla="*/ 2963917 h 2963917"/>
              <a:gd name="connsiteX6" fmla="*/ 0 w 5255533"/>
              <a:gd name="connsiteY6" fmla="*/ 2963917 h 2963917"/>
              <a:gd name="connsiteX7" fmla="*/ 0 w 5255533"/>
              <a:gd name="connsiteY7" fmla="*/ 0 h 2963917"/>
              <a:gd name="connsiteX0" fmla="*/ 0 w 5251425"/>
              <a:gd name="connsiteY0" fmla="*/ 0 h 2963917"/>
              <a:gd name="connsiteX1" fmla="*/ 0 w 5251425"/>
              <a:gd name="connsiteY1" fmla="*/ 0 h 2963917"/>
              <a:gd name="connsiteX2" fmla="*/ 1727900 w 5251425"/>
              <a:gd name="connsiteY2" fmla="*/ 1942312 h 2963917"/>
              <a:gd name="connsiteX3" fmla="*/ 2282847 w 5251425"/>
              <a:gd name="connsiteY3" fmla="*/ 2358521 h 2963917"/>
              <a:gd name="connsiteX4" fmla="*/ 5215233 w 5251425"/>
              <a:gd name="connsiteY4" fmla="*/ 2963917 h 2963917"/>
              <a:gd name="connsiteX5" fmla="*/ 0 w 5251425"/>
              <a:gd name="connsiteY5" fmla="*/ 2963917 h 2963917"/>
              <a:gd name="connsiteX6" fmla="*/ 0 w 5251425"/>
              <a:gd name="connsiteY6" fmla="*/ 0 h 2963917"/>
              <a:gd name="connsiteX0" fmla="*/ 0 w 5235214"/>
              <a:gd name="connsiteY0" fmla="*/ 0 h 2963917"/>
              <a:gd name="connsiteX1" fmla="*/ 0 w 5235214"/>
              <a:gd name="connsiteY1" fmla="*/ 0 h 2963917"/>
              <a:gd name="connsiteX2" fmla="*/ 1727900 w 5235214"/>
              <a:gd name="connsiteY2" fmla="*/ 1942312 h 2963917"/>
              <a:gd name="connsiteX3" fmla="*/ 5215233 w 5235214"/>
              <a:gd name="connsiteY3" fmla="*/ 2963917 h 2963917"/>
              <a:gd name="connsiteX4" fmla="*/ 0 w 5235214"/>
              <a:gd name="connsiteY4" fmla="*/ 2963917 h 2963917"/>
              <a:gd name="connsiteX5" fmla="*/ 0 w 5235214"/>
              <a:gd name="connsiteY5" fmla="*/ 0 h 2963917"/>
              <a:gd name="connsiteX0" fmla="*/ 0 w 5215233"/>
              <a:gd name="connsiteY0" fmla="*/ 0 h 2963917"/>
              <a:gd name="connsiteX1" fmla="*/ 0 w 5215233"/>
              <a:gd name="connsiteY1" fmla="*/ 0 h 2963917"/>
              <a:gd name="connsiteX2" fmla="*/ 1727900 w 5215233"/>
              <a:gd name="connsiteY2" fmla="*/ 1942312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1683757 w 5215233"/>
              <a:gd name="connsiteY2" fmla="*/ 2043211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1652226 w 5215233"/>
              <a:gd name="connsiteY2" fmla="*/ 2125192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30598 w 5215233"/>
              <a:gd name="connsiteY2" fmla="*/ 2333296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30598 w 5215233"/>
              <a:gd name="connsiteY2" fmla="*/ 2333296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49516 w 5215233"/>
              <a:gd name="connsiteY2" fmla="*/ 2326989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49516 w 5215233"/>
              <a:gd name="connsiteY2" fmla="*/ 2326989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49516 w 5215233"/>
              <a:gd name="connsiteY2" fmla="*/ 2326989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49516 w 5215233"/>
              <a:gd name="connsiteY2" fmla="*/ 2326989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49516 w 5215233"/>
              <a:gd name="connsiteY2" fmla="*/ 2326989 h 2963917"/>
              <a:gd name="connsiteX3" fmla="*/ 5215233 w 5215233"/>
              <a:gd name="connsiteY3" fmla="*/ 2963917 h 2963917"/>
              <a:gd name="connsiteX4" fmla="*/ 0 w 5215233"/>
              <a:gd name="connsiteY4" fmla="*/ 2963917 h 2963917"/>
              <a:gd name="connsiteX5" fmla="*/ 0 w 5215233"/>
              <a:gd name="connsiteY5" fmla="*/ 0 h 2963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5233" h="2963917">
                <a:moveTo>
                  <a:pt x="0" y="0"/>
                </a:moveTo>
                <a:lnTo>
                  <a:pt x="0" y="0"/>
                </a:lnTo>
                <a:cubicBezTo>
                  <a:pt x="341586" y="387832"/>
                  <a:pt x="1081957" y="1797596"/>
                  <a:pt x="2049516" y="2326989"/>
                </a:cubicBezTo>
                <a:cubicBezTo>
                  <a:pt x="2756604" y="2713867"/>
                  <a:pt x="4115850" y="2818874"/>
                  <a:pt x="5215233" y="2963917"/>
                </a:cubicBezTo>
                <a:lnTo>
                  <a:pt x="0" y="2963917"/>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 name="Foliennummernplatzhalter 2"/>
          <p:cNvSpPr>
            <a:spLocks noGrp="1"/>
          </p:cNvSpPr>
          <p:nvPr>
            <p:ph type="sldNum" sz="quarter" idx="12"/>
          </p:nvPr>
        </p:nvSpPr>
        <p:spPr/>
        <p:txBody>
          <a:bodyPr/>
          <a:lstStyle/>
          <a:p>
            <a:fld id="{4AD1E780-DE1C-4ECA-B5E5-863D0BC53287}" type="slidenum">
              <a:rPr lang="de-DE" smtClean="0"/>
              <a:pPr/>
              <a:t>37</a:t>
            </a:fld>
            <a:endParaRPr lang="de-DE" dirty="0"/>
          </a:p>
        </p:txBody>
      </p:sp>
      <p:sp>
        <p:nvSpPr>
          <p:cNvPr id="5"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Pareto </a:t>
            </a:r>
            <a:r>
              <a:rPr lang="de-DE" sz="3600" b="1" dirty="0" err="1" smtClean="0">
                <a:solidFill>
                  <a:schemeClr val="accent6"/>
                </a:solidFill>
              </a:rPr>
              <a:t>principle</a:t>
            </a:r>
            <a:r>
              <a:rPr lang="de-DE" sz="3600" b="1" dirty="0" smtClean="0">
                <a:solidFill>
                  <a:schemeClr val="accent6"/>
                </a:solidFill>
              </a:rPr>
              <a:t> </a:t>
            </a:r>
            <a:r>
              <a:rPr lang="de-DE" sz="3600" b="1" dirty="0" err="1" smtClean="0">
                <a:solidFill>
                  <a:schemeClr val="accent6"/>
                </a:solidFill>
              </a:rPr>
              <a:t>works</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a:t>
            </a:r>
            <a:r>
              <a:rPr lang="de-DE" sz="3600" b="1" dirty="0" err="1" smtClean="0">
                <a:solidFill>
                  <a:schemeClr val="accent6"/>
                </a:solidFill>
              </a:rPr>
              <a:t>our</a:t>
            </a:r>
            <a:r>
              <a:rPr lang="de-DE" sz="3600" b="1" dirty="0" smtClean="0">
                <a:solidFill>
                  <a:schemeClr val="accent6"/>
                </a:solidFill>
              </a:rPr>
              <a:t> </a:t>
            </a:r>
            <a:r>
              <a:rPr lang="de-DE" sz="3600" b="1" dirty="0" err="1" smtClean="0">
                <a:solidFill>
                  <a:schemeClr val="accent6"/>
                </a:solidFill>
              </a:rPr>
              <a:t>advantage</a:t>
            </a:r>
            <a:endParaRPr lang="de-DE" sz="3600" dirty="0"/>
          </a:p>
        </p:txBody>
      </p:sp>
      <p:sp>
        <p:nvSpPr>
          <p:cNvPr id="9" name="Freihandform 8"/>
          <p:cNvSpPr/>
          <p:nvPr/>
        </p:nvSpPr>
        <p:spPr>
          <a:xfrm>
            <a:off x="967595" y="1891213"/>
            <a:ext cx="6337738" cy="3090042"/>
          </a:xfrm>
          <a:custGeom>
            <a:avLst/>
            <a:gdLst>
              <a:gd name="connsiteX0" fmla="*/ 0 w 6337738"/>
              <a:gd name="connsiteY0" fmla="*/ 0 h 3090042"/>
              <a:gd name="connsiteX1" fmla="*/ 0 w 6337738"/>
              <a:gd name="connsiteY1" fmla="*/ 3090042 h 3090042"/>
              <a:gd name="connsiteX2" fmla="*/ 6337738 w 6337738"/>
              <a:gd name="connsiteY2" fmla="*/ 3090042 h 3090042"/>
            </a:gdLst>
            <a:ahLst/>
            <a:cxnLst>
              <a:cxn ang="0">
                <a:pos x="connsiteX0" y="connsiteY0"/>
              </a:cxn>
              <a:cxn ang="0">
                <a:pos x="connsiteX1" y="connsiteY1"/>
              </a:cxn>
              <a:cxn ang="0">
                <a:pos x="connsiteX2" y="connsiteY2"/>
              </a:cxn>
            </a:cxnLst>
            <a:rect l="l" t="t" r="r" b="b"/>
            <a:pathLst>
              <a:path w="6337738" h="3090042">
                <a:moveTo>
                  <a:pt x="0" y="0"/>
                </a:moveTo>
                <a:lnTo>
                  <a:pt x="0" y="3090042"/>
                </a:lnTo>
                <a:lnTo>
                  <a:pt x="6337738" y="3090042"/>
                </a:lnTo>
              </a:path>
            </a:pathLst>
          </a:custGeom>
          <a:noFill/>
          <a:ln w="9525">
            <a:solidFill>
              <a:schemeClr val="accent2"/>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 name="Gerade Verbindung 10"/>
          <p:cNvCxnSpPr/>
          <p:nvPr/>
        </p:nvCxnSpPr>
        <p:spPr>
          <a:xfrm>
            <a:off x="2701802" y="1891213"/>
            <a:ext cx="0" cy="309004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nvCxnSpPr>
        <p:spPr>
          <a:xfrm>
            <a:off x="4429703" y="1891213"/>
            <a:ext cx="0" cy="309004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a:xfrm>
            <a:off x="6182828" y="1891213"/>
            <a:ext cx="0" cy="309004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5" name="Inhaltsplatzhalter 2"/>
          <p:cNvSpPr txBox="1">
            <a:spLocks/>
          </p:cNvSpPr>
          <p:nvPr/>
        </p:nvSpPr>
        <p:spPr>
          <a:xfrm>
            <a:off x="1071312" y="3546110"/>
            <a:ext cx="1617879"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2000" dirty="0" smtClean="0">
                <a:solidFill>
                  <a:schemeClr val="bg1"/>
                </a:solidFill>
                <a:latin typeface="Arial" panose="020B0604020202020204" pitchFamily="34" charset="0"/>
                <a:cs typeface="Arial" panose="020B0604020202020204" pitchFamily="34" charset="0"/>
              </a:rPr>
              <a:t>8 biggest publishers</a:t>
            </a:r>
            <a:r>
              <a:rPr lang="en-US" sz="2400" dirty="0" smtClean="0">
                <a:solidFill>
                  <a:schemeClr val="bg1"/>
                </a:solidFill>
                <a:latin typeface="Arial" panose="020B0604020202020204" pitchFamily="34" charset="0"/>
                <a:cs typeface="Arial" panose="020B0604020202020204" pitchFamily="34" charset="0"/>
              </a:rPr>
              <a:t/>
            </a:r>
            <a:br>
              <a:rPr lang="en-US" sz="2400" dirty="0" smtClean="0">
                <a:solidFill>
                  <a:schemeClr val="bg1"/>
                </a:solidFill>
                <a:latin typeface="Arial" panose="020B0604020202020204" pitchFamily="34" charset="0"/>
                <a:cs typeface="Arial" panose="020B0604020202020204" pitchFamily="34" charset="0"/>
              </a:rPr>
            </a:br>
            <a:r>
              <a:rPr lang="en-US" sz="6000" b="1" dirty="0" smtClean="0">
                <a:solidFill>
                  <a:schemeClr val="bg1"/>
                </a:solidFill>
                <a:latin typeface="Arial" panose="020B0604020202020204" pitchFamily="34" charset="0"/>
                <a:cs typeface="Arial" panose="020B0604020202020204" pitchFamily="34" charset="0"/>
              </a:rPr>
              <a:t>70%</a:t>
            </a:r>
          </a:p>
        </p:txBody>
      </p:sp>
      <p:sp>
        <p:nvSpPr>
          <p:cNvPr id="16" name="Inhaltsplatzhalter 2"/>
          <p:cNvSpPr txBox="1">
            <a:spLocks/>
          </p:cNvSpPr>
          <p:nvPr/>
        </p:nvSpPr>
        <p:spPr>
          <a:xfrm>
            <a:off x="2823024" y="3546110"/>
            <a:ext cx="1617879"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2000" dirty="0" smtClean="0">
                <a:solidFill>
                  <a:schemeClr val="accent2"/>
                </a:solidFill>
                <a:latin typeface="Arial" panose="020B0604020202020204" pitchFamily="34" charset="0"/>
                <a:cs typeface="Arial" panose="020B0604020202020204" pitchFamily="34" charset="0"/>
              </a:rPr>
              <a:t>Smaller publishers</a:t>
            </a:r>
            <a:r>
              <a:rPr lang="en-US" sz="2400" dirty="0" smtClean="0">
                <a:solidFill>
                  <a:schemeClr val="accent2"/>
                </a:solidFill>
                <a:latin typeface="Arial" panose="020B0604020202020204" pitchFamily="34" charset="0"/>
                <a:cs typeface="Arial" panose="020B0604020202020204" pitchFamily="34" charset="0"/>
              </a:rPr>
              <a:t/>
            </a:r>
            <a:br>
              <a:rPr lang="en-US" sz="2400" dirty="0" smtClean="0">
                <a:solidFill>
                  <a:schemeClr val="accent2"/>
                </a:solidFill>
                <a:latin typeface="Arial" panose="020B0604020202020204" pitchFamily="34" charset="0"/>
                <a:cs typeface="Arial" panose="020B0604020202020204" pitchFamily="34" charset="0"/>
              </a:rPr>
            </a:br>
            <a:r>
              <a:rPr lang="en-US" sz="2400" dirty="0" smtClean="0">
                <a:solidFill>
                  <a:schemeClr val="accent2"/>
                </a:solidFill>
                <a:latin typeface="Arial" panose="020B0604020202020204" pitchFamily="34" charset="0"/>
                <a:cs typeface="Arial" panose="020B0604020202020204" pitchFamily="34" charset="0"/>
              </a:rPr>
              <a:t/>
            </a:r>
            <a:br>
              <a:rPr lang="en-US" sz="2400" dirty="0" smtClean="0">
                <a:solidFill>
                  <a:schemeClr val="accent2"/>
                </a:solidFill>
                <a:latin typeface="Arial" panose="020B0604020202020204" pitchFamily="34" charset="0"/>
                <a:cs typeface="Arial" panose="020B0604020202020204" pitchFamily="34" charset="0"/>
              </a:rPr>
            </a:br>
            <a:r>
              <a:rPr lang="en-US" sz="3200" b="1" dirty="0" smtClean="0">
                <a:solidFill>
                  <a:schemeClr val="bg1"/>
                </a:solidFill>
                <a:latin typeface="Arial" panose="020B0604020202020204" pitchFamily="34" charset="0"/>
                <a:cs typeface="Arial" panose="020B0604020202020204" pitchFamily="34" charset="0"/>
              </a:rPr>
              <a:t>20%</a:t>
            </a:r>
          </a:p>
        </p:txBody>
      </p:sp>
      <p:sp>
        <p:nvSpPr>
          <p:cNvPr id="17" name="Inhaltsplatzhalter 2"/>
          <p:cNvSpPr txBox="1">
            <a:spLocks/>
          </p:cNvSpPr>
          <p:nvPr/>
        </p:nvSpPr>
        <p:spPr>
          <a:xfrm>
            <a:off x="4544858" y="3573819"/>
            <a:ext cx="1617879"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2000" dirty="0" smtClean="0">
                <a:solidFill>
                  <a:schemeClr val="accent2"/>
                </a:solidFill>
                <a:latin typeface="Arial" panose="020B0604020202020204" pitchFamily="34" charset="0"/>
                <a:cs typeface="Arial" panose="020B0604020202020204" pitchFamily="34" charset="0"/>
              </a:rPr>
              <a:t/>
            </a:r>
            <a:br>
              <a:rPr lang="en-US" sz="2000" dirty="0" smtClean="0">
                <a:solidFill>
                  <a:schemeClr val="accent2"/>
                </a:solidFill>
                <a:latin typeface="Arial" panose="020B0604020202020204" pitchFamily="34" charset="0"/>
                <a:cs typeface="Arial" panose="020B0604020202020204" pitchFamily="34" charset="0"/>
              </a:rPr>
            </a:br>
            <a:r>
              <a:rPr lang="en-US" sz="2000" dirty="0" smtClean="0">
                <a:solidFill>
                  <a:schemeClr val="accent2"/>
                </a:solidFill>
                <a:latin typeface="Arial" panose="020B0604020202020204" pitchFamily="34" charset="0"/>
                <a:cs typeface="Arial" panose="020B0604020202020204" pitchFamily="34" charset="0"/>
              </a:rPr>
              <a:t>Rest</a:t>
            </a:r>
            <a:r>
              <a:rPr lang="en-US" sz="2400" dirty="0" smtClean="0">
                <a:solidFill>
                  <a:schemeClr val="accent2"/>
                </a:solidFill>
                <a:latin typeface="Arial" panose="020B0604020202020204" pitchFamily="34" charset="0"/>
                <a:cs typeface="Arial" panose="020B0604020202020204" pitchFamily="34" charset="0"/>
              </a:rPr>
              <a:t/>
            </a:r>
            <a:br>
              <a:rPr lang="en-US" sz="2400" dirty="0" smtClean="0">
                <a:solidFill>
                  <a:schemeClr val="accent2"/>
                </a:solidFill>
                <a:latin typeface="Arial" panose="020B0604020202020204" pitchFamily="34" charset="0"/>
                <a:cs typeface="Arial" panose="020B0604020202020204" pitchFamily="34" charset="0"/>
              </a:rPr>
            </a:br>
            <a:endParaRPr lang="en-US" sz="2400" dirty="0" smtClean="0">
              <a:solidFill>
                <a:schemeClr val="accent2"/>
              </a:solidFill>
              <a:latin typeface="Arial" panose="020B0604020202020204" pitchFamily="34" charset="0"/>
              <a:cs typeface="Arial" panose="020B0604020202020204" pitchFamily="34" charset="0"/>
            </a:endParaRPr>
          </a:p>
          <a:p>
            <a:pPr algn="l"/>
            <a:r>
              <a:rPr lang="en-US" sz="1400" b="1" dirty="0" smtClean="0">
                <a:solidFill>
                  <a:schemeClr val="accent2"/>
                </a:solidFill>
                <a:latin typeface="Arial" panose="020B0604020202020204" pitchFamily="34" charset="0"/>
                <a:cs typeface="Arial" panose="020B0604020202020204" pitchFamily="34" charset="0"/>
              </a:rPr>
              <a:t/>
            </a:r>
            <a:br>
              <a:rPr lang="en-US" sz="1400" b="1" dirty="0" smtClean="0">
                <a:solidFill>
                  <a:schemeClr val="accent2"/>
                </a:solidFill>
                <a:latin typeface="Arial" panose="020B0604020202020204" pitchFamily="34" charset="0"/>
                <a:cs typeface="Arial" panose="020B0604020202020204" pitchFamily="34" charset="0"/>
              </a:rPr>
            </a:br>
            <a:r>
              <a:rPr lang="en-US" sz="1200" b="1" dirty="0" smtClean="0">
                <a:solidFill>
                  <a:schemeClr val="bg1"/>
                </a:solidFill>
                <a:latin typeface="Arial" panose="020B0604020202020204" pitchFamily="34" charset="0"/>
                <a:cs typeface="Arial" panose="020B0604020202020204" pitchFamily="34" charset="0"/>
              </a:rPr>
              <a:t>10%</a:t>
            </a:r>
          </a:p>
        </p:txBody>
      </p:sp>
      <p:sp>
        <p:nvSpPr>
          <p:cNvPr id="18" name="Inhaltsplatzhalter 2"/>
          <p:cNvSpPr txBox="1">
            <a:spLocks/>
          </p:cNvSpPr>
          <p:nvPr/>
        </p:nvSpPr>
        <p:spPr>
          <a:xfrm>
            <a:off x="1441969" y="5061416"/>
            <a:ext cx="2513359" cy="274801"/>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400" b="1" dirty="0" smtClean="0">
                <a:solidFill>
                  <a:schemeClr val="accent4"/>
                </a:solidFill>
                <a:latin typeface="Arial" panose="020B0604020202020204" pitchFamily="34" charset="0"/>
                <a:cs typeface="Arial" panose="020B0604020202020204" pitchFamily="34" charset="0"/>
              </a:rPr>
              <a:t>What VSNU is working on</a:t>
            </a:r>
            <a:endParaRPr lang="en-US" sz="1800" b="1" dirty="0" smtClean="0">
              <a:solidFill>
                <a:schemeClr val="accent4"/>
              </a:solidFill>
              <a:latin typeface="Arial" panose="020B0604020202020204" pitchFamily="34" charset="0"/>
              <a:cs typeface="Arial" panose="020B0604020202020204" pitchFamily="34" charset="0"/>
            </a:endParaRPr>
          </a:p>
        </p:txBody>
      </p:sp>
      <p:sp>
        <p:nvSpPr>
          <p:cNvPr id="19" name="Inhaltsplatzhalter 2"/>
          <p:cNvSpPr txBox="1">
            <a:spLocks/>
          </p:cNvSpPr>
          <p:nvPr/>
        </p:nvSpPr>
        <p:spPr>
          <a:xfrm>
            <a:off x="7449224" y="4866726"/>
            <a:ext cx="2379185"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400" b="1" dirty="0" smtClean="0">
                <a:solidFill>
                  <a:schemeClr val="accent2"/>
                </a:solidFill>
                <a:latin typeface="Arial" panose="020B0604020202020204" pitchFamily="34" charset="0"/>
                <a:cs typeface="Arial" panose="020B0604020202020204" pitchFamily="34" charset="0"/>
              </a:rPr>
              <a:t>Number of publishers</a:t>
            </a:r>
            <a:endParaRPr lang="en-US" sz="1800" b="1" dirty="0" smtClean="0">
              <a:solidFill>
                <a:schemeClr val="accent2"/>
              </a:solidFill>
              <a:latin typeface="Arial" panose="020B0604020202020204" pitchFamily="34" charset="0"/>
              <a:cs typeface="Arial" panose="020B0604020202020204" pitchFamily="34" charset="0"/>
            </a:endParaRPr>
          </a:p>
        </p:txBody>
      </p:sp>
      <p:sp>
        <p:nvSpPr>
          <p:cNvPr id="20" name="Inhaltsplatzhalter 2"/>
          <p:cNvSpPr txBox="1">
            <a:spLocks/>
          </p:cNvSpPr>
          <p:nvPr/>
        </p:nvSpPr>
        <p:spPr>
          <a:xfrm>
            <a:off x="-100045" y="2902093"/>
            <a:ext cx="923747"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r"/>
            <a:r>
              <a:rPr lang="en-US" sz="1600" b="1" dirty="0" smtClean="0">
                <a:solidFill>
                  <a:schemeClr val="accent2"/>
                </a:solidFill>
                <a:latin typeface="Arial" panose="020B0604020202020204" pitchFamily="34" charset="0"/>
                <a:cs typeface="Arial" panose="020B0604020202020204" pitchFamily="34" charset="0"/>
              </a:rPr>
              <a:t>Costs</a:t>
            </a:r>
            <a:endParaRPr lang="en-US" sz="2000" b="1" dirty="0" smtClean="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373326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2"/>
          <p:cNvSpPr txBox="1">
            <a:spLocks/>
          </p:cNvSpPr>
          <p:nvPr/>
        </p:nvSpPr>
        <p:spPr>
          <a:xfrm>
            <a:off x="302341" y="426280"/>
            <a:ext cx="888549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VSNU </a:t>
            </a:r>
            <a:r>
              <a:rPr lang="de-DE" sz="3600" b="1" dirty="0" err="1" smtClean="0">
                <a:solidFill>
                  <a:schemeClr val="accent6"/>
                </a:solidFill>
              </a:rPr>
              <a:t>approach</a:t>
            </a:r>
            <a:endParaRPr lang="de-DE" sz="3600" dirty="0"/>
          </a:p>
        </p:txBody>
      </p:sp>
      <p:sp>
        <p:nvSpPr>
          <p:cNvPr id="6" name="Foliennummernplatzhalter 2"/>
          <p:cNvSpPr>
            <a:spLocks noGrp="1"/>
          </p:cNvSpPr>
          <p:nvPr>
            <p:ph type="sldNum" sz="quarter" idx="12"/>
          </p:nvPr>
        </p:nvSpPr>
        <p:spPr>
          <a:xfrm>
            <a:off x="8931442" y="6592861"/>
            <a:ext cx="773912" cy="167164"/>
          </a:xfrm>
        </p:spPr>
        <p:txBody>
          <a:bodyPr/>
          <a:lstStyle/>
          <a:p>
            <a:fld id="{4AD1E780-DE1C-4ECA-B5E5-863D0BC53287}" type="slidenum">
              <a:rPr lang="de-DE" smtClean="0"/>
              <a:pPr/>
              <a:t>38</a:t>
            </a:fld>
            <a:endParaRPr lang="de-DE" dirty="0"/>
          </a:p>
        </p:txBody>
      </p:sp>
      <p:pic>
        <p:nvPicPr>
          <p:cNvPr id="2" name="Picture 1"/>
          <p:cNvPicPr>
            <a:picLocks noChangeAspect="1"/>
          </p:cNvPicPr>
          <p:nvPr/>
        </p:nvPicPr>
        <p:blipFill rotWithShape="1">
          <a:blip r:embed="rId2"/>
          <a:srcRect l="1623"/>
          <a:stretch/>
        </p:blipFill>
        <p:spPr>
          <a:xfrm>
            <a:off x="414136" y="1212546"/>
            <a:ext cx="8957304" cy="4636167"/>
          </a:xfrm>
          <a:prstGeom prst="rect">
            <a:avLst/>
          </a:prstGeom>
        </p:spPr>
      </p:pic>
      <p:pic>
        <p:nvPicPr>
          <p:cNvPr id="7" name="Picture 2" descr="\\psf\Host\Volumes\Kerstin 2014-8 2TB\_form und glanz\Kunden\MPG_MPDL\41_Logo DEAL\Logo FINAL_150810\DEAL-hug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56740" y="348057"/>
            <a:ext cx="1610005" cy="578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8570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extplatzhalter 75"/>
          <p:cNvSpPr>
            <a:spLocks noGrp="1"/>
          </p:cNvSpPr>
          <p:nvPr>
            <p:ph type="body" sz="quarter" idx="13"/>
          </p:nvPr>
        </p:nvSpPr>
        <p:spPr/>
        <p:txBody>
          <a:bodyPr/>
          <a:lstStyle/>
          <a:p>
            <a:r>
              <a:rPr lang="de-DE" dirty="0" smtClean="0"/>
              <a:t>Das Dilemma nach 15 Jahren OA Bewegung</a:t>
            </a:r>
            <a:endParaRPr lang="de-DE" dirty="0"/>
          </a:p>
        </p:txBody>
      </p:sp>
      <p:sp>
        <p:nvSpPr>
          <p:cNvPr id="8" name="Foliennummernplatzhalter 4"/>
          <p:cNvSpPr>
            <a:spLocks noGrp="1"/>
          </p:cNvSpPr>
          <p:nvPr>
            <p:ph type="sldNum" sz="quarter" idx="12"/>
          </p:nvPr>
        </p:nvSpPr>
        <p:spPr>
          <a:xfrm>
            <a:off x="8931442" y="6659477"/>
            <a:ext cx="773912" cy="167164"/>
          </a:xfrm>
        </p:spPr>
        <p:txBody>
          <a:bodyPr/>
          <a:lstStyle/>
          <a:p>
            <a:fld id="{4AD1E780-DE1C-4ECA-B5E5-863D0BC53287}" type="slidenum">
              <a:rPr lang="de-DE" smtClean="0">
                <a:solidFill>
                  <a:prstClr val="black">
                    <a:tint val="75000"/>
                  </a:prstClr>
                </a:solidFill>
              </a:rPr>
              <a:pPr/>
              <a:t>3</a:t>
            </a:fld>
            <a:endParaRPr lang="de-DE" dirty="0">
              <a:solidFill>
                <a:prstClr val="black">
                  <a:tint val="75000"/>
                </a:prstClr>
              </a:solidFill>
            </a:endParaRPr>
          </a:p>
        </p:txBody>
      </p:sp>
      <p:sp>
        <p:nvSpPr>
          <p:cNvPr id="7" name="Inhaltsplatzhalter 2"/>
          <p:cNvSpPr>
            <a:spLocks noGrp="1"/>
          </p:cNvSpPr>
          <p:nvPr>
            <p:ph idx="1"/>
            <p:custDataLst>
              <p:tags r:id="rId1"/>
            </p:custDataLst>
          </p:nvPr>
        </p:nvSpPr>
        <p:spPr>
          <a:xfrm>
            <a:off x="1411839" y="2162716"/>
            <a:ext cx="8046060" cy="948978"/>
          </a:xfrm>
          <a:prstGeom prst="rect">
            <a:avLst/>
          </a:prstGeom>
        </p:spPr>
        <p:txBody>
          <a:bodyPr wrap="square">
            <a:spAutoFit/>
          </a:bodyPr>
          <a:lstStyle>
            <a:lvl1pPr>
              <a:defRPr>
                <a:solidFill>
                  <a:schemeClr val="tx2"/>
                </a:solidFill>
              </a:defRPr>
            </a:lvl1pPr>
            <a:lvl2pPr marL="266700" indent="-266700">
              <a:buClr>
                <a:schemeClr val="accent6"/>
              </a:buClr>
              <a:buFont typeface="Times New Roman" panose="02020603050405020304" pitchFamily="18" charset="0"/>
              <a:buChar char="─"/>
              <a:defRPr>
                <a:solidFill>
                  <a:schemeClr val="tx2"/>
                </a:solidFill>
              </a:defRPr>
            </a:lvl2pPr>
            <a:lvl3pPr marL="466725" indent="-200025">
              <a:buClr>
                <a:schemeClr val="accent4"/>
              </a:buClr>
              <a:buFont typeface="Symbol" panose="05050102010706020507" pitchFamily="18" charset="2"/>
              <a:buChar char="-"/>
              <a:defRPr>
                <a:solidFill>
                  <a:schemeClr val="tx2"/>
                </a:solidFill>
              </a:defRPr>
            </a:lvl3pPr>
            <a:lvl4pPr marL="641350" indent="-161925">
              <a:buFont typeface="Symbol" panose="05050102010706020507" pitchFamily="18" charset="2"/>
              <a:buChar char="-"/>
              <a:defRPr>
                <a:solidFill>
                  <a:schemeClr val="tx2"/>
                </a:solidFill>
              </a:defRPr>
            </a:lvl4pPr>
            <a:lvl5pPr marL="808038" indent="-179388">
              <a:buClr>
                <a:schemeClr val="accent1"/>
              </a:buClr>
              <a:defRPr>
                <a:solidFill>
                  <a:schemeClr val="tx2"/>
                </a:solidFill>
              </a:defRPr>
            </a:lvl5pPr>
          </a:lstStyle>
          <a:p>
            <a:pPr lvl="0"/>
            <a:r>
              <a:rPr lang="de-DE" sz="2400" i="1" dirty="0" smtClean="0">
                <a:solidFill>
                  <a:schemeClr val="accent2"/>
                </a:solidFill>
              </a:rPr>
              <a:t>Open Access ist (extrem) stark verankert als </a:t>
            </a:r>
            <a:r>
              <a:rPr lang="de-DE" sz="2400" b="1" i="1" dirty="0" smtClean="0">
                <a:solidFill>
                  <a:schemeClr val="accent2"/>
                </a:solidFill>
              </a:rPr>
              <a:t>Prinzip</a:t>
            </a:r>
          </a:p>
          <a:p>
            <a:pPr lvl="1">
              <a:lnSpc>
                <a:spcPct val="150000"/>
              </a:lnSpc>
            </a:pPr>
            <a:r>
              <a:rPr lang="de-DE" sz="2400" dirty="0" smtClean="0">
                <a:solidFill>
                  <a:schemeClr val="accent2"/>
                </a:solidFill>
              </a:rPr>
              <a:t> vgl. die vielen Resolutionen, </a:t>
            </a:r>
            <a:r>
              <a:rPr lang="de-DE" sz="2400" dirty="0" err="1" smtClean="0">
                <a:solidFill>
                  <a:schemeClr val="accent2"/>
                </a:solidFill>
              </a:rPr>
              <a:t>Policies</a:t>
            </a:r>
            <a:r>
              <a:rPr lang="de-DE" sz="2400" dirty="0" smtClean="0">
                <a:solidFill>
                  <a:schemeClr val="accent2"/>
                </a:solidFill>
              </a:rPr>
              <a:t>, Handreichungen</a:t>
            </a:r>
            <a:endParaRPr lang="de-DE" sz="2400" dirty="0">
              <a:solidFill>
                <a:schemeClr val="accent2"/>
              </a:solidFill>
            </a:endParaRPr>
          </a:p>
        </p:txBody>
      </p:sp>
      <p:sp>
        <p:nvSpPr>
          <p:cNvPr id="9" name="Inhaltsplatzhalter 2"/>
          <p:cNvSpPr txBox="1">
            <a:spLocks/>
          </p:cNvSpPr>
          <p:nvPr>
            <p:custDataLst>
              <p:tags r:id="rId2"/>
            </p:custDataLst>
          </p:nvPr>
        </p:nvSpPr>
        <p:spPr>
          <a:xfrm>
            <a:off x="1411839" y="3755875"/>
            <a:ext cx="8014754" cy="2154436"/>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400" i="1" dirty="0" smtClean="0">
                <a:solidFill>
                  <a:srgbClr val="7F7F7F"/>
                </a:solidFill>
              </a:rPr>
              <a:t>…aber zugleich immer noch schwach in der </a:t>
            </a:r>
            <a:r>
              <a:rPr lang="de-DE" sz="2400" b="1" i="1" dirty="0" smtClean="0">
                <a:solidFill>
                  <a:srgbClr val="7F7F7F"/>
                </a:solidFill>
              </a:rPr>
              <a:t>Praxis</a:t>
            </a:r>
          </a:p>
          <a:p>
            <a:pPr lvl="1">
              <a:lnSpc>
                <a:spcPct val="150000"/>
              </a:lnSpc>
              <a:buClr>
                <a:srgbClr val="DB3F16"/>
              </a:buClr>
            </a:pPr>
            <a:r>
              <a:rPr lang="de-DE" sz="2400" dirty="0" smtClean="0">
                <a:solidFill>
                  <a:srgbClr val="7F7F7F"/>
                </a:solidFill>
              </a:rPr>
              <a:t> Niedrige Akzeptanzrate in Repositorien</a:t>
            </a:r>
          </a:p>
          <a:p>
            <a:pPr lvl="1">
              <a:lnSpc>
                <a:spcPct val="150000"/>
              </a:lnSpc>
              <a:buClr>
                <a:srgbClr val="DB3F16"/>
              </a:buClr>
            </a:pPr>
            <a:r>
              <a:rPr lang="de-DE" sz="2400" dirty="0">
                <a:solidFill>
                  <a:srgbClr val="7F7F7F"/>
                </a:solidFill>
              </a:rPr>
              <a:t> </a:t>
            </a:r>
            <a:r>
              <a:rPr lang="de-DE" sz="2400" dirty="0" smtClean="0">
                <a:solidFill>
                  <a:srgbClr val="7F7F7F"/>
                </a:solidFill>
              </a:rPr>
              <a:t>85% der Forschungsergebnisse hinter Bezahlschranke</a:t>
            </a:r>
          </a:p>
          <a:p>
            <a:pPr lvl="1">
              <a:lnSpc>
                <a:spcPct val="150000"/>
              </a:lnSpc>
              <a:buClr>
                <a:srgbClr val="DB3F16"/>
              </a:buClr>
            </a:pPr>
            <a:r>
              <a:rPr lang="de-DE" sz="2400" dirty="0" smtClean="0">
                <a:solidFill>
                  <a:srgbClr val="7F7F7F"/>
                </a:solidFill>
              </a:rPr>
              <a:t> das Subskriptionswesen wächst ungebrochen weiter</a:t>
            </a:r>
            <a:endParaRPr lang="de-DE" sz="1800" i="1" dirty="0">
              <a:solidFill>
                <a:srgbClr val="7F7F7F"/>
              </a:solidFill>
            </a:endParaRPr>
          </a:p>
        </p:txBody>
      </p:sp>
      <p:grpSp>
        <p:nvGrpSpPr>
          <p:cNvPr id="11" name="Gruppieren 10"/>
          <p:cNvGrpSpPr/>
          <p:nvPr/>
        </p:nvGrpSpPr>
        <p:grpSpPr>
          <a:xfrm>
            <a:off x="7442135" y="5632561"/>
            <a:ext cx="2072914" cy="847989"/>
            <a:chOff x="849262" y="3002589"/>
            <a:chExt cx="2072914" cy="847989"/>
          </a:xfrm>
        </p:grpSpPr>
        <p:cxnSp>
          <p:nvCxnSpPr>
            <p:cNvPr id="12" name="Gerade Verbindung 11"/>
            <p:cNvCxnSpPr/>
            <p:nvPr/>
          </p:nvCxnSpPr>
          <p:spPr>
            <a:xfrm rot="10800000" flipH="1">
              <a:off x="2067882" y="3002589"/>
              <a:ext cx="854294" cy="847988"/>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a:xfrm rot="5400000">
              <a:off x="1462289" y="3237551"/>
              <a:ext cx="0" cy="122605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4" name="Gerade Verbindung 13"/>
          <p:cNvCxnSpPr/>
          <p:nvPr/>
        </p:nvCxnSpPr>
        <p:spPr>
          <a:xfrm rot="5400000" flipH="1">
            <a:off x="1539774" y="1445337"/>
            <a:ext cx="0" cy="122605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rot="5400000" flipH="1">
            <a:off x="1539774" y="3048545"/>
            <a:ext cx="0" cy="122605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694365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2"/>
          <p:cNvSpPr txBox="1">
            <a:spLocks/>
          </p:cNvSpPr>
          <p:nvPr/>
        </p:nvSpPr>
        <p:spPr>
          <a:xfrm>
            <a:off x="302341" y="426280"/>
            <a:ext cx="888549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CDL </a:t>
            </a:r>
            <a:r>
              <a:rPr lang="de-DE" sz="3600" b="1" dirty="0" err="1" smtClean="0">
                <a:solidFill>
                  <a:schemeClr val="accent6"/>
                </a:solidFill>
              </a:rPr>
              <a:t>approach</a:t>
            </a:r>
            <a:endParaRPr lang="de-DE" sz="3600" dirty="0"/>
          </a:p>
        </p:txBody>
      </p:sp>
      <p:sp>
        <p:nvSpPr>
          <p:cNvPr id="6" name="Foliennummernplatzhalter 2"/>
          <p:cNvSpPr>
            <a:spLocks noGrp="1"/>
          </p:cNvSpPr>
          <p:nvPr>
            <p:ph type="sldNum" sz="quarter" idx="12"/>
          </p:nvPr>
        </p:nvSpPr>
        <p:spPr>
          <a:xfrm>
            <a:off x="8931442" y="6592861"/>
            <a:ext cx="773912" cy="167164"/>
          </a:xfrm>
        </p:spPr>
        <p:txBody>
          <a:bodyPr/>
          <a:lstStyle/>
          <a:p>
            <a:fld id="{4AD1E780-DE1C-4ECA-B5E5-863D0BC53287}" type="slidenum">
              <a:rPr lang="de-DE" smtClean="0"/>
              <a:pPr/>
              <a:t>39</a:t>
            </a:fld>
            <a:endParaRPr lang="de-DE" dirty="0"/>
          </a:p>
        </p:txBody>
      </p:sp>
      <p:pic>
        <p:nvPicPr>
          <p:cNvPr id="2" name="Picture 1"/>
          <p:cNvPicPr>
            <a:picLocks noChangeAspect="1"/>
          </p:cNvPicPr>
          <p:nvPr/>
        </p:nvPicPr>
        <p:blipFill>
          <a:blip r:embed="rId3"/>
          <a:stretch>
            <a:fillRect/>
          </a:stretch>
        </p:blipFill>
        <p:spPr>
          <a:xfrm>
            <a:off x="995362" y="1128712"/>
            <a:ext cx="7915275" cy="4600575"/>
          </a:xfrm>
          <a:prstGeom prst="rect">
            <a:avLst/>
          </a:prstGeom>
        </p:spPr>
      </p:pic>
    </p:spTree>
    <p:extLst>
      <p:ext uri="{BB962C8B-B14F-4D97-AF65-F5344CB8AC3E}">
        <p14:creationId xmlns:p14="http://schemas.microsoft.com/office/powerpoint/2010/main" val="379904723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2"/>
          <p:cNvSpPr txBox="1">
            <a:spLocks/>
          </p:cNvSpPr>
          <p:nvPr/>
        </p:nvSpPr>
        <p:spPr>
          <a:xfrm>
            <a:off x="302341" y="426280"/>
            <a:ext cx="888549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MIT </a:t>
            </a:r>
            <a:r>
              <a:rPr lang="de-DE" sz="3600" b="1" dirty="0" err="1" smtClean="0">
                <a:solidFill>
                  <a:schemeClr val="accent6"/>
                </a:solidFill>
              </a:rPr>
              <a:t>approach</a:t>
            </a:r>
            <a:endParaRPr lang="de-DE" sz="3600" dirty="0"/>
          </a:p>
        </p:txBody>
      </p:sp>
      <p:sp>
        <p:nvSpPr>
          <p:cNvPr id="6" name="Foliennummernplatzhalter 2"/>
          <p:cNvSpPr>
            <a:spLocks noGrp="1"/>
          </p:cNvSpPr>
          <p:nvPr>
            <p:ph type="sldNum" sz="quarter" idx="12"/>
          </p:nvPr>
        </p:nvSpPr>
        <p:spPr>
          <a:xfrm>
            <a:off x="8931442" y="6592861"/>
            <a:ext cx="773912" cy="167164"/>
          </a:xfrm>
        </p:spPr>
        <p:txBody>
          <a:bodyPr/>
          <a:lstStyle/>
          <a:p>
            <a:fld id="{4AD1E780-DE1C-4ECA-B5E5-863D0BC53287}" type="slidenum">
              <a:rPr lang="de-DE" smtClean="0"/>
              <a:pPr/>
              <a:t>40</a:t>
            </a:fld>
            <a:endParaRPr lang="de-DE" dirty="0"/>
          </a:p>
        </p:txBody>
      </p:sp>
      <p:pic>
        <p:nvPicPr>
          <p:cNvPr id="3" name="Picture 2"/>
          <p:cNvPicPr>
            <a:picLocks noChangeAspect="1"/>
          </p:cNvPicPr>
          <p:nvPr/>
        </p:nvPicPr>
        <p:blipFill>
          <a:blip r:embed="rId3"/>
          <a:stretch>
            <a:fillRect/>
          </a:stretch>
        </p:blipFill>
        <p:spPr>
          <a:xfrm>
            <a:off x="960263" y="1240174"/>
            <a:ext cx="6304833" cy="4730499"/>
          </a:xfrm>
          <a:prstGeom prst="rect">
            <a:avLst/>
          </a:prstGeom>
        </p:spPr>
      </p:pic>
    </p:spTree>
    <p:extLst>
      <p:ext uri="{BB962C8B-B14F-4D97-AF65-F5344CB8AC3E}">
        <p14:creationId xmlns:p14="http://schemas.microsoft.com/office/powerpoint/2010/main" val="71519594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Prepare</a:t>
            </a:r>
            <a:r>
              <a:rPr lang="de-DE" sz="3600" b="1" dirty="0" smtClean="0">
                <a:solidFill>
                  <a:schemeClr val="accent6"/>
                </a:solidFill>
              </a:rPr>
              <a:t> </a:t>
            </a:r>
            <a:r>
              <a:rPr lang="de-DE" sz="3600" b="1" dirty="0" err="1" smtClean="0">
                <a:solidFill>
                  <a:schemeClr val="accent6"/>
                </a:solidFill>
              </a:rPr>
              <a:t>for</a:t>
            </a:r>
            <a:r>
              <a:rPr lang="de-DE" sz="3600" b="1" dirty="0" smtClean="0">
                <a:solidFill>
                  <a:schemeClr val="accent6"/>
                </a:solidFill>
              </a:rPr>
              <a:t> </a:t>
            </a:r>
            <a:r>
              <a:rPr lang="de-DE" sz="3600" b="1" dirty="0" err="1" smtClean="0">
                <a:solidFill>
                  <a:schemeClr val="accent6"/>
                </a:solidFill>
              </a:rPr>
              <a:t>negotiations</a:t>
            </a:r>
            <a:endParaRPr lang="de-DE" sz="3600" dirty="0"/>
          </a:p>
        </p:txBody>
      </p:sp>
      <p:sp>
        <p:nvSpPr>
          <p:cNvPr id="14" name="Rechteck 13"/>
          <p:cNvSpPr/>
          <p:nvPr/>
        </p:nvSpPr>
        <p:spPr>
          <a:xfrm rot="18873811">
            <a:off x="4980038" y="2644746"/>
            <a:ext cx="1980760"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15" name="Rechteck 14"/>
          <p:cNvSpPr/>
          <p:nvPr/>
        </p:nvSpPr>
        <p:spPr>
          <a:xfrm rot="2726189" flipH="1">
            <a:off x="4991078" y="4868860"/>
            <a:ext cx="1980760"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16" name="Rechteck 15"/>
          <p:cNvSpPr/>
          <p:nvPr/>
        </p:nvSpPr>
        <p:spPr>
          <a:xfrm flipH="1">
            <a:off x="5443515" y="3747234"/>
            <a:ext cx="1998499" cy="6293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8" name="Rechteck 7"/>
          <p:cNvSpPr/>
          <p:nvPr/>
        </p:nvSpPr>
        <p:spPr>
          <a:xfrm rot="16200000" flipH="1">
            <a:off x="3842452" y="2214849"/>
            <a:ext cx="1980758" cy="638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9" name="Rechteck 8"/>
          <p:cNvSpPr/>
          <p:nvPr/>
        </p:nvSpPr>
        <p:spPr>
          <a:xfrm rot="16200000" flipH="1">
            <a:off x="3842453" y="5358374"/>
            <a:ext cx="1980759" cy="638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11" name="Rechteck 10"/>
          <p:cNvSpPr/>
          <p:nvPr/>
        </p:nvSpPr>
        <p:spPr>
          <a:xfrm rot="2726189" flipH="1">
            <a:off x="2722599" y="2644746"/>
            <a:ext cx="1980760"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12" name="Rechteck 11"/>
          <p:cNvSpPr/>
          <p:nvPr/>
        </p:nvSpPr>
        <p:spPr>
          <a:xfrm rot="18873811">
            <a:off x="2711559" y="4868860"/>
            <a:ext cx="1980760"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13" name="Rechteck 12"/>
          <p:cNvSpPr/>
          <p:nvPr/>
        </p:nvSpPr>
        <p:spPr>
          <a:xfrm>
            <a:off x="2263928" y="3766824"/>
            <a:ext cx="1998499" cy="6293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pic>
        <p:nvPicPr>
          <p:cNvPr id="17" name="Grafik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48884" y="6108205"/>
            <a:ext cx="1371008" cy="636827"/>
          </a:xfrm>
          <a:prstGeom prst="rect">
            <a:avLst/>
          </a:prstGeom>
        </p:spPr>
      </p:pic>
      <p:sp>
        <p:nvSpPr>
          <p:cNvPr id="18" name="Freihandform 17"/>
          <p:cNvSpPr/>
          <p:nvPr/>
        </p:nvSpPr>
        <p:spPr>
          <a:xfrm>
            <a:off x="7648884" y="5958738"/>
            <a:ext cx="2258125" cy="60555"/>
          </a:xfrm>
          <a:custGeom>
            <a:avLst/>
            <a:gdLst>
              <a:gd name="connsiteX0" fmla="*/ 0 w 2464641"/>
              <a:gd name="connsiteY0" fmla="*/ 835677 h 835677"/>
              <a:gd name="connsiteX1" fmla="*/ 0 w 2464641"/>
              <a:gd name="connsiteY1" fmla="*/ 0 h 835677"/>
              <a:gd name="connsiteX2" fmla="*/ 2464641 w 2464641"/>
              <a:gd name="connsiteY2" fmla="*/ 0 h 835677"/>
              <a:gd name="connsiteX0" fmla="*/ 0 w 2464641"/>
              <a:gd name="connsiteY0" fmla="*/ 0 h 0"/>
              <a:gd name="connsiteX1" fmla="*/ 2464641 w 2464641"/>
              <a:gd name="connsiteY1" fmla="*/ 0 h 0"/>
            </a:gdLst>
            <a:ahLst/>
            <a:cxnLst>
              <a:cxn ang="0">
                <a:pos x="connsiteX0" y="connsiteY0"/>
              </a:cxn>
              <a:cxn ang="0">
                <a:pos x="connsiteX1" y="connsiteY1"/>
              </a:cxn>
            </a:cxnLst>
            <a:rect l="l" t="t" r="r" b="b"/>
            <a:pathLst>
              <a:path w="2464641">
                <a:moveTo>
                  <a:pt x="0" y="0"/>
                </a:moveTo>
                <a:lnTo>
                  <a:pt x="2464641" y="0"/>
                </a:lnTo>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10916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20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childTnLst>
                          </p:cTn>
                        </p:par>
                        <p:par>
                          <p:cTn id="9" fill="hold">
                            <p:stCondLst>
                              <p:cond delay="2500"/>
                            </p:stCondLst>
                            <p:childTnLst>
                              <p:par>
                                <p:cTn id="10" presetID="2" presetClass="entr" presetSubtype="3"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1+#ppt_w/2"/>
                                          </p:val>
                                        </p:tav>
                                        <p:tav tm="100000">
                                          <p:val>
                                            <p:strVal val="#ppt_x"/>
                                          </p:val>
                                        </p:tav>
                                      </p:tavLst>
                                    </p:anim>
                                    <p:anim calcmode="lin" valueType="num">
                                      <p:cBhvr additive="base">
                                        <p:cTn id="13" dur="500" fill="hold"/>
                                        <p:tgtEl>
                                          <p:spTgt spid="14"/>
                                        </p:tgtEl>
                                        <p:attrNameLst>
                                          <p:attrName>ppt_y</p:attrName>
                                        </p:attrNameLst>
                                      </p:cBhvr>
                                      <p:tavLst>
                                        <p:tav tm="0">
                                          <p:val>
                                            <p:strVal val="0-#ppt_h/2"/>
                                          </p:val>
                                        </p:tav>
                                        <p:tav tm="100000">
                                          <p:val>
                                            <p:strVal val="#ppt_y"/>
                                          </p:val>
                                        </p:tav>
                                      </p:tavLst>
                                    </p:anim>
                                  </p:childTnLst>
                                </p:cTn>
                              </p:par>
                            </p:childTnLst>
                          </p:cTn>
                        </p:par>
                        <p:par>
                          <p:cTn id="14" fill="hold">
                            <p:stCondLst>
                              <p:cond delay="3000"/>
                            </p:stCondLst>
                            <p:childTnLst>
                              <p:par>
                                <p:cTn id="15" presetID="2" presetClass="entr" presetSubtype="2" fill="hold" grpId="0"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1+#ppt_w/2"/>
                                          </p:val>
                                        </p:tav>
                                        <p:tav tm="100000">
                                          <p:val>
                                            <p:strVal val="#ppt_x"/>
                                          </p:val>
                                        </p:tav>
                                      </p:tavLst>
                                    </p:anim>
                                    <p:anim calcmode="lin" valueType="num">
                                      <p:cBhvr additive="base">
                                        <p:cTn id="18" dur="500" fill="hold"/>
                                        <p:tgtEl>
                                          <p:spTgt spid="16"/>
                                        </p:tgtEl>
                                        <p:attrNameLst>
                                          <p:attrName>ppt_y</p:attrName>
                                        </p:attrNameLst>
                                      </p:cBhvr>
                                      <p:tavLst>
                                        <p:tav tm="0">
                                          <p:val>
                                            <p:strVal val="#ppt_y"/>
                                          </p:val>
                                        </p:tav>
                                        <p:tav tm="100000">
                                          <p:val>
                                            <p:strVal val="#ppt_y"/>
                                          </p:val>
                                        </p:tav>
                                      </p:tavLst>
                                    </p:anim>
                                  </p:childTnLst>
                                </p:cTn>
                              </p:par>
                            </p:childTnLst>
                          </p:cTn>
                        </p:par>
                        <p:par>
                          <p:cTn id="19" fill="hold">
                            <p:stCondLst>
                              <p:cond delay="3500"/>
                            </p:stCondLst>
                            <p:childTnLst>
                              <p:par>
                                <p:cTn id="20" presetID="2" presetClass="entr" presetSubtype="6" fill="hold" grpId="0" nodeType="afterEffect">
                                  <p:stCondLst>
                                    <p:cond delay="0"/>
                                  </p:stCondLst>
                                  <p:childTnLst>
                                    <p:set>
                                      <p:cBhvr>
                                        <p:cTn id="21" dur="1" fill="hold">
                                          <p:stCondLst>
                                            <p:cond delay="0"/>
                                          </p:stCondLst>
                                        </p:cTn>
                                        <p:tgtEl>
                                          <p:spTgt spid="15"/>
                                        </p:tgtEl>
                                        <p:attrNameLst>
                                          <p:attrName>style.visibility</p:attrName>
                                        </p:attrNameLst>
                                      </p:cBhvr>
                                      <p:to>
                                        <p:strVal val="visible"/>
                                      </p:to>
                                    </p:set>
                                    <p:anim calcmode="lin" valueType="num">
                                      <p:cBhvr additive="base">
                                        <p:cTn id="22" dur="500" fill="hold"/>
                                        <p:tgtEl>
                                          <p:spTgt spid="15"/>
                                        </p:tgtEl>
                                        <p:attrNameLst>
                                          <p:attrName>ppt_x</p:attrName>
                                        </p:attrNameLst>
                                      </p:cBhvr>
                                      <p:tavLst>
                                        <p:tav tm="0">
                                          <p:val>
                                            <p:strVal val="1+#ppt_w/2"/>
                                          </p:val>
                                        </p:tav>
                                        <p:tav tm="100000">
                                          <p:val>
                                            <p:strVal val="#ppt_x"/>
                                          </p:val>
                                        </p:tav>
                                      </p:tavLst>
                                    </p:anim>
                                    <p:anim calcmode="lin" valueType="num">
                                      <p:cBhvr additive="base">
                                        <p:cTn id="23" dur="500" fill="hold"/>
                                        <p:tgtEl>
                                          <p:spTgt spid="15"/>
                                        </p:tgtEl>
                                        <p:attrNameLst>
                                          <p:attrName>ppt_y</p:attrName>
                                        </p:attrNameLst>
                                      </p:cBhvr>
                                      <p:tavLst>
                                        <p:tav tm="0">
                                          <p:val>
                                            <p:strVal val="1+#ppt_h/2"/>
                                          </p:val>
                                        </p:tav>
                                        <p:tav tm="100000">
                                          <p:val>
                                            <p:strVal val="#ppt_y"/>
                                          </p:val>
                                        </p:tav>
                                      </p:tavLst>
                                    </p:anim>
                                  </p:childTnLst>
                                </p:cTn>
                              </p:par>
                            </p:childTnLst>
                          </p:cTn>
                        </p:par>
                        <p:par>
                          <p:cTn id="24" fill="hold">
                            <p:stCondLst>
                              <p:cond delay="4000"/>
                            </p:stCondLst>
                            <p:childTnLst>
                              <p:par>
                                <p:cTn id="25" presetID="2" presetClass="entr" presetSubtype="4"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1+#ppt_h/2"/>
                                          </p:val>
                                        </p:tav>
                                        <p:tav tm="100000">
                                          <p:val>
                                            <p:strVal val="#ppt_y"/>
                                          </p:val>
                                        </p:tav>
                                      </p:tavLst>
                                    </p:anim>
                                  </p:childTnLst>
                                </p:cTn>
                              </p:par>
                            </p:childTnLst>
                          </p:cTn>
                        </p:par>
                        <p:par>
                          <p:cTn id="29" fill="hold">
                            <p:stCondLst>
                              <p:cond delay="4500"/>
                            </p:stCondLst>
                            <p:childTnLst>
                              <p:par>
                                <p:cTn id="30" presetID="2" presetClass="entr" presetSubtype="12" fill="hold" grpId="0" nodeType="afterEffect">
                                  <p:stCondLst>
                                    <p:cond delay="0"/>
                                  </p:stCondLst>
                                  <p:childTnLst>
                                    <p:set>
                                      <p:cBhvr>
                                        <p:cTn id="31" dur="1" fill="hold">
                                          <p:stCondLst>
                                            <p:cond delay="0"/>
                                          </p:stCondLst>
                                        </p:cTn>
                                        <p:tgtEl>
                                          <p:spTgt spid="12"/>
                                        </p:tgtEl>
                                        <p:attrNameLst>
                                          <p:attrName>style.visibility</p:attrName>
                                        </p:attrNameLst>
                                      </p:cBhvr>
                                      <p:to>
                                        <p:strVal val="visible"/>
                                      </p:to>
                                    </p:set>
                                    <p:anim calcmode="lin" valueType="num">
                                      <p:cBhvr additive="base">
                                        <p:cTn id="32" dur="500" fill="hold"/>
                                        <p:tgtEl>
                                          <p:spTgt spid="12"/>
                                        </p:tgtEl>
                                        <p:attrNameLst>
                                          <p:attrName>ppt_x</p:attrName>
                                        </p:attrNameLst>
                                      </p:cBhvr>
                                      <p:tavLst>
                                        <p:tav tm="0">
                                          <p:val>
                                            <p:strVal val="0-#ppt_w/2"/>
                                          </p:val>
                                        </p:tav>
                                        <p:tav tm="100000">
                                          <p:val>
                                            <p:strVal val="#ppt_x"/>
                                          </p:val>
                                        </p:tav>
                                      </p:tavLst>
                                    </p:anim>
                                    <p:anim calcmode="lin" valueType="num">
                                      <p:cBhvr additive="base">
                                        <p:cTn id="33" dur="500" fill="hold"/>
                                        <p:tgtEl>
                                          <p:spTgt spid="12"/>
                                        </p:tgtEl>
                                        <p:attrNameLst>
                                          <p:attrName>ppt_y</p:attrName>
                                        </p:attrNameLst>
                                      </p:cBhvr>
                                      <p:tavLst>
                                        <p:tav tm="0">
                                          <p:val>
                                            <p:strVal val="1+#ppt_h/2"/>
                                          </p:val>
                                        </p:tav>
                                        <p:tav tm="100000">
                                          <p:val>
                                            <p:strVal val="#ppt_y"/>
                                          </p:val>
                                        </p:tav>
                                      </p:tavLst>
                                    </p:anim>
                                  </p:childTnLst>
                                </p:cTn>
                              </p:par>
                            </p:childTnLst>
                          </p:cTn>
                        </p:par>
                        <p:par>
                          <p:cTn id="34" fill="hold">
                            <p:stCondLst>
                              <p:cond delay="5000"/>
                            </p:stCondLst>
                            <p:childTnLst>
                              <p:par>
                                <p:cTn id="35" presetID="2" presetClass="entr" presetSubtype="8" fill="hold" grpId="0" nodeType="after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500" fill="hold"/>
                                        <p:tgtEl>
                                          <p:spTgt spid="13"/>
                                        </p:tgtEl>
                                        <p:attrNameLst>
                                          <p:attrName>ppt_x</p:attrName>
                                        </p:attrNameLst>
                                      </p:cBhvr>
                                      <p:tavLst>
                                        <p:tav tm="0">
                                          <p:val>
                                            <p:strVal val="0-#ppt_w/2"/>
                                          </p:val>
                                        </p:tav>
                                        <p:tav tm="100000">
                                          <p:val>
                                            <p:strVal val="#ppt_x"/>
                                          </p:val>
                                        </p:tav>
                                      </p:tavLst>
                                    </p:anim>
                                    <p:anim calcmode="lin" valueType="num">
                                      <p:cBhvr additive="base">
                                        <p:cTn id="38" dur="500" fill="hold"/>
                                        <p:tgtEl>
                                          <p:spTgt spid="13"/>
                                        </p:tgtEl>
                                        <p:attrNameLst>
                                          <p:attrName>ppt_y</p:attrName>
                                        </p:attrNameLst>
                                      </p:cBhvr>
                                      <p:tavLst>
                                        <p:tav tm="0">
                                          <p:val>
                                            <p:strVal val="#ppt_y"/>
                                          </p:val>
                                        </p:tav>
                                        <p:tav tm="100000">
                                          <p:val>
                                            <p:strVal val="#ppt_y"/>
                                          </p:val>
                                        </p:tav>
                                      </p:tavLst>
                                    </p:anim>
                                  </p:childTnLst>
                                </p:cTn>
                              </p:par>
                            </p:childTnLst>
                          </p:cTn>
                        </p:par>
                        <p:par>
                          <p:cTn id="39" fill="hold">
                            <p:stCondLst>
                              <p:cond delay="5500"/>
                            </p:stCondLst>
                            <p:childTnLst>
                              <p:par>
                                <p:cTn id="40" presetID="2" presetClass="entr" presetSubtype="9" fill="hold" grpId="0" nodeType="afterEffect">
                                  <p:stCondLst>
                                    <p:cond delay="0"/>
                                  </p:stCondLst>
                                  <p:childTnLst>
                                    <p:set>
                                      <p:cBhvr>
                                        <p:cTn id="41" dur="1" fill="hold">
                                          <p:stCondLst>
                                            <p:cond delay="0"/>
                                          </p:stCondLst>
                                        </p:cTn>
                                        <p:tgtEl>
                                          <p:spTgt spid="11"/>
                                        </p:tgtEl>
                                        <p:attrNameLst>
                                          <p:attrName>style.visibility</p:attrName>
                                        </p:attrNameLst>
                                      </p:cBhvr>
                                      <p:to>
                                        <p:strVal val="visible"/>
                                      </p:to>
                                    </p:set>
                                    <p:anim calcmode="lin" valueType="num">
                                      <p:cBhvr additive="base">
                                        <p:cTn id="42" dur="500" fill="hold"/>
                                        <p:tgtEl>
                                          <p:spTgt spid="11"/>
                                        </p:tgtEl>
                                        <p:attrNameLst>
                                          <p:attrName>ppt_x</p:attrName>
                                        </p:attrNameLst>
                                      </p:cBhvr>
                                      <p:tavLst>
                                        <p:tav tm="0">
                                          <p:val>
                                            <p:strVal val="0-#ppt_w/2"/>
                                          </p:val>
                                        </p:tav>
                                        <p:tav tm="100000">
                                          <p:val>
                                            <p:strVal val="#ppt_x"/>
                                          </p:val>
                                        </p:tav>
                                      </p:tavLst>
                                    </p:anim>
                                    <p:anim calcmode="lin" valueType="num">
                                      <p:cBhvr additive="base">
                                        <p:cTn id="43" dur="500" fill="hold"/>
                                        <p:tgtEl>
                                          <p:spTgt spid="1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8" grpId="0" animBg="1"/>
      <p:bldP spid="9" grpId="0" animBg="1"/>
      <p:bldP spid="11" grpId="0" animBg="1"/>
      <p:bldP spid="12" grpId="0" animBg="1"/>
      <p:bldP spid="1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ußzeilenplatzhalter 2"/>
          <p:cNvSpPr txBox="1">
            <a:spLocks/>
          </p:cNvSpPr>
          <p:nvPr/>
        </p:nvSpPr>
        <p:spPr>
          <a:xfrm>
            <a:off x="351131" y="6224213"/>
            <a:ext cx="8636409" cy="266719"/>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dirty="0">
                <a:hlinkClick r:id="rId2" tooltip="Always points to the most recent version of this publication, which is accessible with your user rights. Depending on the status of the actual version you may directed to different versions."/>
              </a:rPr>
              <a:t>http://hdl.handle.net/11858/00-001M-0000-0026-C274-7</a:t>
            </a:r>
            <a:endParaRPr lang="de-DE" sz="1200" dirty="0">
              <a:solidFill>
                <a:schemeClr val="accent6"/>
              </a:solidFill>
            </a:endParaRPr>
          </a:p>
        </p:txBody>
      </p:sp>
      <p:sp>
        <p:nvSpPr>
          <p:cNvPr id="12" name="Textplatzhalter 2"/>
          <p:cNvSpPr txBox="1">
            <a:spLocks/>
          </p:cNvSpPr>
          <p:nvPr/>
        </p:nvSpPr>
        <p:spPr>
          <a:xfrm>
            <a:off x="302341" y="398571"/>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Financial </a:t>
            </a:r>
            <a:r>
              <a:rPr lang="de-DE" sz="3600" b="1" dirty="0" err="1" smtClean="0">
                <a:solidFill>
                  <a:schemeClr val="accent6"/>
                </a:solidFill>
              </a:rPr>
              <a:t>leverage</a:t>
            </a:r>
            <a:r>
              <a:rPr lang="de-DE" sz="3600" b="1" dirty="0" smtClean="0">
                <a:solidFill>
                  <a:schemeClr val="accent6"/>
                </a:solidFill>
              </a:rPr>
              <a:t>: </a:t>
            </a:r>
            <a:r>
              <a:rPr lang="de-DE" sz="3600" b="1" dirty="0" err="1" smtClean="0">
                <a:solidFill>
                  <a:schemeClr val="accent6"/>
                </a:solidFill>
              </a:rPr>
              <a:t>there</a:t>
            </a:r>
            <a:r>
              <a:rPr lang="de-DE" sz="3600" b="1" dirty="0" smtClean="0">
                <a:solidFill>
                  <a:schemeClr val="accent6"/>
                </a:solidFill>
              </a:rPr>
              <a:t> </a:t>
            </a:r>
            <a:r>
              <a:rPr lang="de-DE" sz="3600" b="1" dirty="0" err="1" smtClean="0">
                <a:solidFill>
                  <a:schemeClr val="accent6"/>
                </a:solidFill>
              </a:rPr>
              <a:t>is</a:t>
            </a:r>
            <a:r>
              <a:rPr lang="de-DE" sz="3600" b="1" dirty="0" smtClean="0">
                <a:solidFill>
                  <a:schemeClr val="accent6"/>
                </a:solidFill>
              </a:rPr>
              <a:t> </a:t>
            </a:r>
            <a:r>
              <a:rPr lang="de-DE" sz="3600" b="1" dirty="0" err="1" smtClean="0">
                <a:solidFill>
                  <a:schemeClr val="accent6"/>
                </a:solidFill>
              </a:rPr>
              <a:t>already</a:t>
            </a:r>
            <a:r>
              <a:rPr lang="de-DE" sz="3600" b="1" dirty="0" smtClean="0">
                <a:solidFill>
                  <a:schemeClr val="accent6"/>
                </a:solidFill>
              </a:rPr>
              <a:t> </a:t>
            </a:r>
            <a:r>
              <a:rPr lang="de-DE" sz="3600" b="1" dirty="0" err="1" smtClean="0">
                <a:solidFill>
                  <a:schemeClr val="accent6"/>
                </a:solidFill>
              </a:rPr>
              <a:t>enough</a:t>
            </a:r>
            <a:r>
              <a:rPr lang="de-DE" sz="3600" b="1" dirty="0" smtClean="0">
                <a:solidFill>
                  <a:schemeClr val="accent6"/>
                </a:solidFill>
              </a:rPr>
              <a:t> </a:t>
            </a:r>
            <a:r>
              <a:rPr lang="de-DE" sz="3600" b="1" dirty="0" err="1" smtClean="0">
                <a:solidFill>
                  <a:schemeClr val="accent6"/>
                </a:solidFill>
              </a:rPr>
              <a:t>money</a:t>
            </a:r>
            <a:r>
              <a:rPr lang="de-DE" sz="3600" b="1" dirty="0" smtClean="0">
                <a:solidFill>
                  <a:schemeClr val="accent6"/>
                </a:solidFill>
              </a:rPr>
              <a:t> in </a:t>
            </a:r>
            <a:r>
              <a:rPr lang="de-DE" sz="3600" b="1" dirty="0" err="1" smtClean="0">
                <a:solidFill>
                  <a:schemeClr val="accent6"/>
                </a:solidFill>
              </a:rPr>
              <a:t>the</a:t>
            </a:r>
            <a:r>
              <a:rPr lang="de-DE" sz="3600" b="1" dirty="0" smtClean="0">
                <a:solidFill>
                  <a:schemeClr val="accent6"/>
                </a:solidFill>
              </a:rPr>
              <a:t> </a:t>
            </a:r>
            <a:r>
              <a:rPr lang="de-DE" sz="3600" b="1" dirty="0" err="1" smtClean="0">
                <a:solidFill>
                  <a:schemeClr val="accent6"/>
                </a:solidFill>
              </a:rPr>
              <a:t>system</a:t>
            </a:r>
            <a:endParaRPr lang="de-DE" sz="3600" dirty="0"/>
          </a:p>
        </p:txBody>
      </p:sp>
      <p:cxnSp>
        <p:nvCxnSpPr>
          <p:cNvPr id="10" name="Gerade Verbindung 9"/>
          <p:cNvCxnSpPr/>
          <p:nvPr/>
        </p:nvCxnSpPr>
        <p:spPr>
          <a:xfrm>
            <a:off x="826920" y="3135085"/>
            <a:ext cx="210265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a:xfrm>
            <a:off x="7093847" y="3135085"/>
            <a:ext cx="216862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Inhaltsplatzhalter 2"/>
          <p:cNvSpPr txBox="1">
            <a:spLocks/>
          </p:cNvSpPr>
          <p:nvPr/>
        </p:nvSpPr>
        <p:spPr>
          <a:xfrm>
            <a:off x="3155162" y="2206120"/>
            <a:ext cx="1368152"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600" b="1" dirty="0" smtClean="0">
                <a:solidFill>
                  <a:schemeClr val="accent2"/>
                </a:solidFill>
                <a:latin typeface="Arial" panose="020B0604020202020204" pitchFamily="34" charset="0"/>
                <a:cs typeface="Arial" panose="020B0604020202020204" pitchFamily="34" charset="0"/>
              </a:rPr>
              <a:t>Subscription market today</a:t>
            </a:r>
          </a:p>
          <a:p>
            <a:pPr algn="l"/>
            <a:r>
              <a:rPr lang="en-US" sz="2400" b="1" dirty="0" smtClean="0">
                <a:solidFill>
                  <a:schemeClr val="accent2"/>
                </a:solidFill>
                <a:latin typeface="Arial" panose="020B0604020202020204" pitchFamily="34" charset="0"/>
                <a:cs typeface="Arial" panose="020B0604020202020204" pitchFamily="34" charset="0"/>
              </a:rPr>
              <a:t>€ 7.6 </a:t>
            </a:r>
            <a:r>
              <a:rPr lang="en-US" sz="2400" b="1" dirty="0" err="1" smtClean="0">
                <a:solidFill>
                  <a:schemeClr val="accent2"/>
                </a:solidFill>
                <a:latin typeface="Arial" panose="020B0604020202020204" pitchFamily="34" charset="0"/>
                <a:cs typeface="Arial" panose="020B0604020202020204" pitchFamily="34" charset="0"/>
              </a:rPr>
              <a:t>bn</a:t>
            </a:r>
            <a:endParaRPr lang="de-DE" sz="2400" b="1" dirty="0">
              <a:solidFill>
                <a:schemeClr val="accent2"/>
              </a:solidFill>
              <a:latin typeface="Arial" panose="020B0604020202020204" pitchFamily="34" charset="0"/>
              <a:cs typeface="Arial" panose="020B0604020202020204" pitchFamily="34" charset="0"/>
            </a:endParaRPr>
          </a:p>
        </p:txBody>
      </p:sp>
      <p:sp>
        <p:nvSpPr>
          <p:cNvPr id="21" name="Inhaltsplatzhalter 2"/>
          <p:cNvSpPr txBox="1">
            <a:spLocks/>
          </p:cNvSpPr>
          <p:nvPr/>
        </p:nvSpPr>
        <p:spPr>
          <a:xfrm>
            <a:off x="5401812" y="2206120"/>
            <a:ext cx="1368152"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600" b="1" dirty="0" smtClean="0">
                <a:solidFill>
                  <a:schemeClr val="accent6"/>
                </a:solidFill>
                <a:latin typeface="Arial" panose="020B0604020202020204" pitchFamily="34" charset="0"/>
                <a:cs typeface="Arial" panose="020B0604020202020204" pitchFamily="34" charset="0"/>
              </a:rPr>
              <a:t>Transformed Open Access</a:t>
            </a:r>
          </a:p>
          <a:p>
            <a:pPr algn="l"/>
            <a:r>
              <a:rPr lang="en-US" sz="2400" b="1" dirty="0" smtClean="0">
                <a:solidFill>
                  <a:schemeClr val="accent6"/>
                </a:solidFill>
                <a:latin typeface="Arial" panose="020B0604020202020204" pitchFamily="34" charset="0"/>
                <a:cs typeface="Arial" panose="020B0604020202020204" pitchFamily="34" charset="0"/>
              </a:rPr>
              <a:t>€ 4.0 </a:t>
            </a:r>
            <a:r>
              <a:rPr lang="en-US" sz="2400" b="1" dirty="0" err="1" smtClean="0">
                <a:solidFill>
                  <a:schemeClr val="accent6"/>
                </a:solidFill>
                <a:latin typeface="Arial" panose="020B0604020202020204" pitchFamily="34" charset="0"/>
                <a:cs typeface="Arial" panose="020B0604020202020204" pitchFamily="34" charset="0"/>
              </a:rPr>
              <a:t>bn</a:t>
            </a:r>
            <a:endParaRPr lang="de-DE" sz="2400" b="1" dirty="0" smtClean="0">
              <a:solidFill>
                <a:schemeClr val="accent6"/>
              </a:solidFill>
              <a:latin typeface="Arial" panose="020B0604020202020204" pitchFamily="34" charset="0"/>
              <a:cs typeface="Arial" panose="020B0604020202020204" pitchFamily="34" charset="0"/>
            </a:endParaRPr>
          </a:p>
          <a:p>
            <a:pPr algn="l"/>
            <a:endParaRPr lang="de-DE" sz="1400" b="1" dirty="0">
              <a:solidFill>
                <a:schemeClr val="accent6"/>
              </a:solidFill>
              <a:latin typeface="Arial" panose="020B0604020202020204" pitchFamily="34" charset="0"/>
              <a:cs typeface="Arial" panose="020B0604020202020204" pitchFamily="34" charset="0"/>
            </a:endParaRPr>
          </a:p>
        </p:txBody>
      </p:sp>
      <p:sp>
        <p:nvSpPr>
          <p:cNvPr id="22" name="Inhaltsplatzhalter 2"/>
          <p:cNvSpPr txBox="1">
            <a:spLocks/>
          </p:cNvSpPr>
          <p:nvPr/>
        </p:nvSpPr>
        <p:spPr>
          <a:xfrm>
            <a:off x="5972361" y="4601099"/>
            <a:ext cx="2000694"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r"/>
            <a:r>
              <a:rPr lang="en-US" sz="1200" b="1" dirty="0" smtClean="0">
                <a:solidFill>
                  <a:schemeClr val="accent6"/>
                </a:solidFill>
                <a:latin typeface="Arial" panose="020B0604020202020204" pitchFamily="34" charset="0"/>
                <a:cs typeface="Arial" panose="020B0604020202020204" pitchFamily="34" charset="0"/>
              </a:rPr>
              <a:t>Conservative average cost per article OA publication</a:t>
            </a:r>
            <a:endParaRPr lang="de-DE" sz="1200" b="1" dirty="0">
              <a:solidFill>
                <a:schemeClr val="accent6"/>
              </a:solidFill>
              <a:latin typeface="Arial" panose="020B0604020202020204" pitchFamily="34" charset="0"/>
              <a:cs typeface="Arial" panose="020B0604020202020204" pitchFamily="34" charset="0"/>
            </a:endParaRPr>
          </a:p>
        </p:txBody>
      </p:sp>
      <p:sp>
        <p:nvSpPr>
          <p:cNvPr id="23" name="Inhaltsplatzhalter 2"/>
          <p:cNvSpPr txBox="1">
            <a:spLocks/>
          </p:cNvSpPr>
          <p:nvPr/>
        </p:nvSpPr>
        <p:spPr>
          <a:xfrm>
            <a:off x="7973055" y="3751803"/>
            <a:ext cx="1358308"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200" b="1" dirty="0" err="1" smtClean="0">
                <a:solidFill>
                  <a:schemeClr val="accent6"/>
                </a:solidFill>
                <a:latin typeface="Arial" panose="020B0604020202020204" pitchFamily="34" charset="0"/>
                <a:cs typeface="Arial" panose="020B0604020202020204" pitchFamily="34" charset="0"/>
              </a:rPr>
              <a:t>scholary</a:t>
            </a:r>
            <a:r>
              <a:rPr lang="en-US" sz="1200" b="1" dirty="0" smtClean="0">
                <a:solidFill>
                  <a:schemeClr val="accent6"/>
                </a:solidFill>
                <a:latin typeface="Arial" panose="020B0604020202020204" pitchFamily="34" charset="0"/>
                <a:cs typeface="Arial" panose="020B0604020202020204" pitchFamily="34" charset="0"/>
              </a:rPr>
              <a:t> articles</a:t>
            </a:r>
            <a:endParaRPr lang="de-DE" sz="1200" b="1" dirty="0">
              <a:solidFill>
                <a:schemeClr val="accent6"/>
              </a:solidFill>
              <a:latin typeface="Arial" panose="020B0604020202020204" pitchFamily="34" charset="0"/>
              <a:cs typeface="Arial" panose="020B0604020202020204" pitchFamily="34" charset="0"/>
            </a:endParaRPr>
          </a:p>
        </p:txBody>
      </p:sp>
      <p:sp>
        <p:nvSpPr>
          <p:cNvPr id="24" name="Inhaltsplatzhalter 2"/>
          <p:cNvSpPr txBox="1">
            <a:spLocks/>
          </p:cNvSpPr>
          <p:nvPr/>
        </p:nvSpPr>
        <p:spPr>
          <a:xfrm>
            <a:off x="845580" y="3751803"/>
            <a:ext cx="1358308"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200" b="1" dirty="0" err="1" smtClean="0">
                <a:solidFill>
                  <a:schemeClr val="tx1">
                    <a:lumMod val="50000"/>
                    <a:lumOff val="50000"/>
                  </a:schemeClr>
                </a:solidFill>
                <a:latin typeface="Arial" panose="020B0604020202020204" pitchFamily="34" charset="0"/>
                <a:cs typeface="Arial" panose="020B0604020202020204" pitchFamily="34" charset="0"/>
              </a:rPr>
              <a:t>scholary</a:t>
            </a:r>
            <a:r>
              <a:rPr lang="en-US" sz="1200" b="1" dirty="0" smtClean="0">
                <a:solidFill>
                  <a:schemeClr val="tx1">
                    <a:lumMod val="50000"/>
                    <a:lumOff val="50000"/>
                  </a:schemeClr>
                </a:solidFill>
                <a:latin typeface="Arial" panose="020B0604020202020204" pitchFamily="34" charset="0"/>
                <a:cs typeface="Arial" panose="020B0604020202020204" pitchFamily="34" charset="0"/>
              </a:rPr>
              <a:t> articles</a:t>
            </a:r>
            <a:endParaRPr lang="de-DE" sz="12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27" name="Inhaltsplatzhalter 2"/>
          <p:cNvSpPr txBox="1">
            <a:spLocks/>
          </p:cNvSpPr>
          <p:nvPr/>
        </p:nvSpPr>
        <p:spPr>
          <a:xfrm>
            <a:off x="7973055" y="3319497"/>
            <a:ext cx="1368152"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de-DE" sz="2400" b="1" dirty="0" smtClean="0">
                <a:solidFill>
                  <a:schemeClr val="accent6"/>
                </a:solidFill>
                <a:latin typeface="Arial" panose="020B0604020202020204" pitchFamily="34" charset="0"/>
                <a:cs typeface="Arial" panose="020B0604020202020204" pitchFamily="34" charset="0"/>
              </a:rPr>
              <a:t># 2m</a:t>
            </a:r>
            <a:endParaRPr lang="de-DE" sz="2400" b="1" dirty="0">
              <a:solidFill>
                <a:schemeClr val="accent6"/>
              </a:solidFill>
              <a:latin typeface="Arial" panose="020B0604020202020204" pitchFamily="34" charset="0"/>
              <a:cs typeface="Arial" panose="020B0604020202020204" pitchFamily="34" charset="0"/>
            </a:endParaRPr>
          </a:p>
        </p:txBody>
      </p:sp>
      <p:sp>
        <p:nvSpPr>
          <p:cNvPr id="28" name="Inhaltsplatzhalter 2"/>
          <p:cNvSpPr txBox="1">
            <a:spLocks/>
          </p:cNvSpPr>
          <p:nvPr/>
        </p:nvSpPr>
        <p:spPr>
          <a:xfrm>
            <a:off x="845580" y="3319497"/>
            <a:ext cx="1368152"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de-DE" sz="2400" b="1" dirty="0" smtClean="0">
                <a:solidFill>
                  <a:schemeClr val="tx1">
                    <a:lumMod val="50000"/>
                    <a:lumOff val="50000"/>
                  </a:schemeClr>
                </a:solidFill>
                <a:latin typeface="Arial" panose="020B0604020202020204" pitchFamily="34" charset="0"/>
                <a:cs typeface="Arial" panose="020B0604020202020204" pitchFamily="34" charset="0"/>
              </a:rPr>
              <a:t># 2m</a:t>
            </a:r>
            <a:endParaRPr lang="de-DE" sz="24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30" name="Inhaltsplatzhalter 2"/>
          <p:cNvSpPr txBox="1">
            <a:spLocks/>
          </p:cNvSpPr>
          <p:nvPr/>
        </p:nvSpPr>
        <p:spPr>
          <a:xfrm>
            <a:off x="7330714" y="2467015"/>
            <a:ext cx="1358308"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800" b="1" dirty="0" smtClean="0">
                <a:solidFill>
                  <a:schemeClr val="accent4"/>
                </a:solidFill>
                <a:latin typeface="Arial" panose="020B0604020202020204" pitchFamily="34" charset="0"/>
                <a:cs typeface="Arial" panose="020B0604020202020204" pitchFamily="34" charset="0"/>
              </a:rPr>
              <a:t>45% Buffer</a:t>
            </a:r>
            <a:endParaRPr lang="de-DE" sz="1800" b="1" dirty="0">
              <a:solidFill>
                <a:schemeClr val="accent4"/>
              </a:solidFill>
              <a:latin typeface="Arial" panose="020B0604020202020204" pitchFamily="34" charset="0"/>
              <a:cs typeface="Arial" panose="020B0604020202020204" pitchFamily="34" charset="0"/>
            </a:endParaRPr>
          </a:p>
        </p:txBody>
      </p:sp>
      <p:sp>
        <p:nvSpPr>
          <p:cNvPr id="32" name="Inhaltsplatzhalter 2"/>
          <p:cNvSpPr txBox="1">
            <a:spLocks/>
          </p:cNvSpPr>
          <p:nvPr/>
        </p:nvSpPr>
        <p:spPr>
          <a:xfrm>
            <a:off x="2102667" y="4600035"/>
            <a:ext cx="1736571"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200" b="1" dirty="0" smtClean="0">
                <a:solidFill>
                  <a:schemeClr val="tx1">
                    <a:lumMod val="50000"/>
                    <a:lumOff val="50000"/>
                  </a:schemeClr>
                </a:solidFill>
                <a:latin typeface="Arial" panose="020B0604020202020204" pitchFamily="34" charset="0"/>
                <a:cs typeface="Arial" panose="020B0604020202020204" pitchFamily="34" charset="0"/>
              </a:rPr>
              <a:t>Cost per article under the subscription regime</a:t>
            </a:r>
            <a:endParaRPr lang="de-DE" sz="1200" b="1"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34" name="Rechteck 33"/>
          <p:cNvSpPr/>
          <p:nvPr/>
        </p:nvSpPr>
        <p:spPr>
          <a:xfrm>
            <a:off x="2786744" y="1942079"/>
            <a:ext cx="1841241" cy="160998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5" name="Rechteck 34"/>
          <p:cNvSpPr/>
          <p:nvPr/>
        </p:nvSpPr>
        <p:spPr>
          <a:xfrm>
            <a:off x="5100716" y="1942079"/>
            <a:ext cx="1841241" cy="160998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36" name="Grafik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5994" y="3082675"/>
            <a:ext cx="1121500" cy="1397123"/>
          </a:xfrm>
          <a:prstGeom prst="rect">
            <a:avLst/>
          </a:prstGeom>
        </p:spPr>
      </p:pic>
      <p:pic>
        <p:nvPicPr>
          <p:cNvPr id="37" name="Grafik 36"/>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6769964" y="3082675"/>
            <a:ext cx="1121500" cy="1397123"/>
          </a:xfrm>
          <a:prstGeom prst="rect">
            <a:avLst/>
          </a:prstGeom>
        </p:spPr>
      </p:pic>
      <p:cxnSp>
        <p:nvCxnSpPr>
          <p:cNvPr id="38" name="Gerade Verbindung 37"/>
          <p:cNvCxnSpPr/>
          <p:nvPr/>
        </p:nvCxnSpPr>
        <p:spPr>
          <a:xfrm flipV="1">
            <a:off x="0" y="5173821"/>
            <a:ext cx="9906000" cy="3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9" name="Gruppieren 38"/>
          <p:cNvGrpSpPr/>
          <p:nvPr/>
        </p:nvGrpSpPr>
        <p:grpSpPr>
          <a:xfrm rot="20988821">
            <a:off x="-199003" y="4687080"/>
            <a:ext cx="2202434" cy="801822"/>
            <a:chOff x="604292" y="4616861"/>
            <a:chExt cx="1368152" cy="498091"/>
          </a:xfrm>
          <a:solidFill>
            <a:schemeClr val="bg1"/>
          </a:solidFill>
        </p:grpSpPr>
        <p:pic>
          <p:nvPicPr>
            <p:cNvPr id="40" name="Grafik 39"/>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tretch>
              <a:fillRect/>
            </a:stretch>
          </p:blipFill>
          <p:spPr>
            <a:xfrm flipH="1">
              <a:off x="857763" y="4616861"/>
              <a:ext cx="1005940" cy="349892"/>
            </a:xfrm>
            <a:prstGeom prst="rect">
              <a:avLst/>
            </a:prstGeom>
            <a:solidFill>
              <a:schemeClr val="bg1"/>
            </a:solidFill>
          </p:spPr>
        </p:pic>
        <p:sp>
          <p:nvSpPr>
            <p:cNvPr id="41" name="Inhaltsplatzhalter 2"/>
            <p:cNvSpPr txBox="1">
              <a:spLocks/>
            </p:cNvSpPr>
            <p:nvPr/>
          </p:nvSpPr>
          <p:spPr>
            <a:xfrm>
              <a:off x="604292" y="4664460"/>
              <a:ext cx="1368152" cy="450492"/>
            </a:xfrm>
            <a:prstGeom prst="rect">
              <a:avLst/>
            </a:prstGeom>
            <a:noFill/>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r>
                <a:rPr lang="en-US" sz="2400" b="1" dirty="0" smtClean="0">
                  <a:solidFill>
                    <a:schemeClr val="tx1">
                      <a:lumMod val="50000"/>
                      <a:lumOff val="50000"/>
                    </a:schemeClr>
                  </a:solidFill>
                  <a:latin typeface="Arial" panose="020B0604020202020204" pitchFamily="34" charset="0"/>
                  <a:cs typeface="Arial" panose="020B0604020202020204" pitchFamily="34" charset="0"/>
                </a:rPr>
                <a:t>€ 3,800</a:t>
              </a:r>
              <a:endParaRPr lang="de-DE" sz="2400" b="1" dirty="0">
                <a:solidFill>
                  <a:schemeClr val="tx1">
                    <a:lumMod val="50000"/>
                    <a:lumOff val="50000"/>
                  </a:schemeClr>
                </a:solidFill>
                <a:latin typeface="Arial" panose="020B0604020202020204" pitchFamily="34" charset="0"/>
                <a:cs typeface="Arial" panose="020B0604020202020204" pitchFamily="34" charset="0"/>
              </a:endParaRPr>
            </a:p>
          </p:txBody>
        </p:sp>
      </p:grpSp>
      <p:pic>
        <p:nvPicPr>
          <p:cNvPr id="42" name="Grafik 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195069">
            <a:off x="8148871" y="4626895"/>
            <a:ext cx="1492601" cy="529942"/>
          </a:xfrm>
          <a:prstGeom prst="rect">
            <a:avLst/>
          </a:prstGeom>
          <a:solidFill>
            <a:schemeClr val="bg1"/>
          </a:solidFill>
        </p:spPr>
      </p:pic>
      <p:sp>
        <p:nvSpPr>
          <p:cNvPr id="43" name="Inhaltsplatzhalter 2"/>
          <p:cNvSpPr txBox="1">
            <a:spLocks/>
          </p:cNvSpPr>
          <p:nvPr/>
        </p:nvSpPr>
        <p:spPr>
          <a:xfrm rot="1195069">
            <a:off x="7799625" y="4755055"/>
            <a:ext cx="2381298" cy="682310"/>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r>
              <a:rPr lang="en-US" sz="2400" b="1" dirty="0" smtClean="0">
                <a:solidFill>
                  <a:schemeClr val="accent6"/>
                </a:solidFill>
                <a:latin typeface="Arial" panose="020B0604020202020204" pitchFamily="34" charset="0"/>
                <a:cs typeface="Arial" panose="020B0604020202020204" pitchFamily="34" charset="0"/>
              </a:rPr>
              <a:t>€ 2,000</a:t>
            </a:r>
            <a:endParaRPr lang="de-DE" sz="2400" b="1" dirty="0">
              <a:solidFill>
                <a:schemeClr val="accent6"/>
              </a:solidFill>
              <a:latin typeface="Arial" panose="020B0604020202020204" pitchFamily="34" charset="0"/>
              <a:cs typeface="Arial" panose="020B0604020202020204" pitchFamily="34" charset="0"/>
            </a:endParaRPr>
          </a:p>
        </p:txBody>
      </p:sp>
      <p:sp>
        <p:nvSpPr>
          <p:cNvPr id="44" name="Foliennummernplatzhalter 2"/>
          <p:cNvSpPr>
            <a:spLocks noGrp="1"/>
          </p:cNvSpPr>
          <p:nvPr>
            <p:ph type="sldNum" sz="quarter" idx="12"/>
          </p:nvPr>
        </p:nvSpPr>
        <p:spPr>
          <a:xfrm>
            <a:off x="8931442" y="6592861"/>
            <a:ext cx="773912" cy="167164"/>
          </a:xfrm>
        </p:spPr>
        <p:txBody>
          <a:bodyPr/>
          <a:lstStyle/>
          <a:p>
            <a:fld id="{4AD1E780-DE1C-4ECA-B5E5-863D0BC53287}" type="slidenum">
              <a:rPr lang="de-DE" smtClean="0"/>
              <a:pPr/>
              <a:t>42</a:t>
            </a:fld>
            <a:endParaRPr lang="de-DE" dirty="0"/>
          </a:p>
        </p:txBody>
      </p:sp>
      <p:sp>
        <p:nvSpPr>
          <p:cNvPr id="46" name="Fußzeilenplatzhalter 2"/>
          <p:cNvSpPr txBox="1">
            <a:spLocks/>
          </p:cNvSpPr>
          <p:nvPr/>
        </p:nvSpPr>
        <p:spPr>
          <a:xfrm>
            <a:off x="351130" y="6515476"/>
            <a:ext cx="8636409" cy="266719"/>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dirty="0" smtClean="0">
                <a:hlinkClick r:id="rId7"/>
              </a:rPr>
              <a:t>https</a:t>
            </a:r>
            <a:r>
              <a:rPr lang="en-GB" sz="1200" dirty="0">
                <a:hlinkClick r:id="rId7"/>
              </a:rPr>
              <a:t>://treemaps.intact-project.org/apcdata/openapc</a:t>
            </a:r>
            <a:r>
              <a:rPr lang="en-GB" sz="1200" dirty="0" smtClean="0">
                <a:hlinkClick r:id="rId7"/>
              </a:rPr>
              <a:t>/</a:t>
            </a:r>
            <a:r>
              <a:rPr lang="en-GB" sz="1200" dirty="0" smtClean="0"/>
              <a:t> </a:t>
            </a:r>
            <a:endParaRPr lang="de-DE" sz="1200" dirty="0">
              <a:solidFill>
                <a:schemeClr val="accent6"/>
              </a:solidFill>
            </a:endParaRPr>
          </a:p>
        </p:txBody>
      </p:sp>
    </p:spTree>
    <p:extLst>
      <p:ext uri="{BB962C8B-B14F-4D97-AF65-F5344CB8AC3E}">
        <p14:creationId xmlns:p14="http://schemas.microsoft.com/office/powerpoint/2010/main" val="388309648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2"/>
          <p:cNvSpPr txBox="1">
            <a:spLocks/>
          </p:cNvSpPr>
          <p:nvPr/>
        </p:nvSpPr>
        <p:spPr>
          <a:xfrm>
            <a:off x="302340" y="426280"/>
            <a:ext cx="922241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Additional </a:t>
            </a:r>
            <a:r>
              <a:rPr lang="de-DE" sz="3600" b="1" dirty="0" err="1" smtClean="0">
                <a:solidFill>
                  <a:schemeClr val="accent6"/>
                </a:solidFill>
              </a:rPr>
              <a:t>leverage</a:t>
            </a:r>
            <a:r>
              <a:rPr lang="de-DE" sz="3600" b="1" dirty="0" smtClean="0">
                <a:solidFill>
                  <a:schemeClr val="accent6"/>
                </a:solidFill>
              </a:rPr>
              <a:t> in APC </a:t>
            </a:r>
            <a:r>
              <a:rPr lang="de-DE" sz="3600" b="1" dirty="0" err="1" smtClean="0">
                <a:solidFill>
                  <a:schemeClr val="accent6"/>
                </a:solidFill>
              </a:rPr>
              <a:t>data</a:t>
            </a:r>
            <a:r>
              <a:rPr lang="de-DE" sz="3600" b="1" dirty="0" smtClean="0">
                <a:solidFill>
                  <a:schemeClr val="accent6"/>
                </a:solidFill>
              </a:rPr>
              <a:t> </a:t>
            </a:r>
            <a:r>
              <a:rPr lang="de-DE" sz="3600" b="1" dirty="0" err="1" smtClean="0">
                <a:solidFill>
                  <a:schemeClr val="accent6"/>
                </a:solidFill>
              </a:rPr>
              <a:t>evidence</a:t>
            </a:r>
            <a:endParaRPr lang="de-DE" sz="3600" dirty="0"/>
          </a:p>
        </p:txBody>
      </p:sp>
      <p:pic>
        <p:nvPicPr>
          <p:cNvPr id="8"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5606" y="1948374"/>
            <a:ext cx="8452987" cy="4326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hteck 2"/>
          <p:cNvSpPr/>
          <p:nvPr/>
        </p:nvSpPr>
        <p:spPr>
          <a:xfrm>
            <a:off x="707672" y="1619191"/>
            <a:ext cx="8437969" cy="496996"/>
          </a:xfrm>
          <a:prstGeom prst="rect">
            <a:avLst/>
          </a:prstGeom>
        </p:spPr>
        <p:txBody>
          <a:bodyPr wrap="square">
            <a:spAutoFit/>
          </a:bodyPr>
          <a:lstStyle/>
          <a:p>
            <a:pPr>
              <a:lnSpc>
                <a:spcPts val="3600"/>
              </a:lnSpc>
            </a:pPr>
            <a:endParaRPr lang="en-US" sz="2000" dirty="0" smtClean="0">
              <a:solidFill>
                <a:schemeClr val="accent2"/>
              </a:solidFill>
            </a:endParaRPr>
          </a:p>
        </p:txBody>
      </p:sp>
      <p:sp>
        <p:nvSpPr>
          <p:cNvPr id="14" name="Textfeld 14"/>
          <p:cNvSpPr txBox="1"/>
          <p:nvPr/>
        </p:nvSpPr>
        <p:spPr>
          <a:xfrm>
            <a:off x="7804205" y="2611427"/>
            <a:ext cx="2012275" cy="3000821"/>
          </a:xfrm>
          <a:prstGeom prst="rect">
            <a:avLst/>
          </a:prstGeom>
          <a:noFill/>
          <a:ln w="12700">
            <a:noFill/>
          </a:ln>
        </p:spPr>
        <p:txBody>
          <a:bodyPr wrap="square" lIns="0" rIns="0" rtlCol="0">
            <a:spAutoFit/>
          </a:bodyPr>
          <a:lstStyle/>
          <a:p>
            <a:pPr algn="ctr"/>
            <a:endParaRPr lang="en-US" sz="900" b="1" dirty="0">
              <a:solidFill>
                <a:schemeClr val="tx2"/>
              </a:solidFill>
            </a:endParaRPr>
          </a:p>
          <a:p>
            <a:r>
              <a:rPr lang="en-US" b="1" dirty="0" smtClean="0">
                <a:solidFill>
                  <a:schemeClr val="tx2"/>
                </a:solidFill>
              </a:rPr>
              <a:t>Average list APC</a:t>
            </a:r>
          </a:p>
          <a:p>
            <a:r>
              <a:rPr lang="en-US" dirty="0" smtClean="0">
                <a:solidFill>
                  <a:schemeClr val="tx2"/>
                </a:solidFill>
              </a:rPr>
              <a:t>Fully OA: $1600</a:t>
            </a:r>
          </a:p>
          <a:p>
            <a:r>
              <a:rPr lang="en-US" dirty="0" smtClean="0">
                <a:solidFill>
                  <a:schemeClr val="tx2"/>
                </a:solidFill>
              </a:rPr>
              <a:t>Hybrid: $2900</a:t>
            </a:r>
          </a:p>
          <a:p>
            <a:endParaRPr lang="en-US" dirty="0">
              <a:solidFill>
                <a:schemeClr val="tx2"/>
              </a:solidFill>
            </a:endParaRPr>
          </a:p>
          <a:p>
            <a:r>
              <a:rPr lang="en-US" b="1" dirty="0" smtClean="0">
                <a:solidFill>
                  <a:schemeClr val="tx2"/>
                </a:solidFill>
              </a:rPr>
              <a:t>Average payment tracked by </a:t>
            </a:r>
            <a:r>
              <a:rPr lang="en-US" b="1" dirty="0" err="1" smtClean="0">
                <a:solidFill>
                  <a:schemeClr val="accent6"/>
                </a:solidFill>
              </a:rPr>
              <a:t>OpenAPC</a:t>
            </a:r>
            <a:r>
              <a:rPr lang="en-US" b="1" dirty="0" smtClean="0">
                <a:solidFill>
                  <a:schemeClr val="accent6"/>
                </a:solidFill>
              </a:rPr>
              <a:t>: </a:t>
            </a:r>
          </a:p>
          <a:p>
            <a:r>
              <a:rPr lang="en-US" dirty="0" smtClean="0">
                <a:solidFill>
                  <a:schemeClr val="tx2"/>
                </a:solidFill>
              </a:rPr>
              <a:t>Fully OA: €1488</a:t>
            </a:r>
          </a:p>
          <a:p>
            <a:r>
              <a:rPr lang="en-US" dirty="0" smtClean="0">
                <a:solidFill>
                  <a:schemeClr val="tx2"/>
                </a:solidFill>
              </a:rPr>
              <a:t>Hybrid €2445</a:t>
            </a:r>
          </a:p>
          <a:p>
            <a:endParaRPr lang="en-US" dirty="0">
              <a:solidFill>
                <a:schemeClr val="tx2"/>
              </a:solidFill>
            </a:endParaRPr>
          </a:p>
        </p:txBody>
      </p:sp>
      <p:sp>
        <p:nvSpPr>
          <p:cNvPr id="15" name="TextBox 14"/>
          <p:cNvSpPr txBox="1"/>
          <p:nvPr/>
        </p:nvSpPr>
        <p:spPr>
          <a:xfrm>
            <a:off x="384679" y="6364741"/>
            <a:ext cx="8351773" cy="184666"/>
          </a:xfrm>
          <a:prstGeom prst="rect">
            <a:avLst/>
          </a:prstGeom>
          <a:noFill/>
        </p:spPr>
        <p:txBody>
          <a:bodyPr wrap="square" lIns="0" tIns="0" rIns="0" bIns="0" rtlCol="0">
            <a:spAutoFit/>
          </a:bodyPr>
          <a:lstStyle/>
          <a:p>
            <a:r>
              <a:rPr lang="en-GB" sz="1200" dirty="0" smtClean="0">
                <a:solidFill>
                  <a:schemeClr val="accent4"/>
                </a:solidFill>
              </a:rPr>
              <a:t>With permission from Delta Think Open Access Data &amp; Analytics tool. Analysis 15.09.2018</a:t>
            </a:r>
            <a:endParaRPr lang="en-GB" sz="1200" dirty="0">
              <a:solidFill>
                <a:schemeClr val="accent4"/>
              </a:solidFill>
            </a:endParaRPr>
          </a:p>
        </p:txBody>
      </p:sp>
      <p:sp>
        <p:nvSpPr>
          <p:cNvPr id="22" name="Textplatzhalter 17"/>
          <p:cNvSpPr txBox="1">
            <a:spLocks/>
          </p:cNvSpPr>
          <p:nvPr/>
        </p:nvSpPr>
        <p:spPr>
          <a:xfrm>
            <a:off x="594705" y="1030786"/>
            <a:ext cx="8930054" cy="836903"/>
          </a:xfrm>
          <a:prstGeom prst="rect">
            <a:avLst/>
          </a:prstGeom>
        </p:spPr>
        <p:txBody>
          <a:bodyPr vert="horz" wrap="square" lIns="0" tIns="0" rIns="0" bIns="0" rtlCol="0" anchor="b" anchorCtr="0">
            <a:noAutofit/>
          </a:bodyPr>
          <a:lstStyle>
            <a:lvl1pPr marL="0" indent="0" algn="l" defTabSz="914400" rtl="0" eaLnBrk="1" latinLnBrk="0" hangingPunct="1">
              <a:spcBef>
                <a:spcPts val="200"/>
              </a:spcBef>
              <a:buClr>
                <a:schemeClr val="tx2"/>
              </a:buClr>
              <a:buFont typeface="Wingdings" pitchFamily="2" charset="2"/>
              <a:buNone/>
              <a:defRPr sz="2400" b="0" kern="1200">
                <a:solidFill>
                  <a:schemeClr val="tx2"/>
                </a:solidFill>
                <a:latin typeface="+mj-lt"/>
                <a:ea typeface="+mn-ea"/>
                <a:cs typeface="+mn-cs"/>
              </a:defRPr>
            </a:lvl1pPr>
            <a:lvl2pPr marL="0" indent="0" algn="l" defTabSz="914400" rtl="0" eaLnBrk="1" latinLnBrk="0" hangingPunct="1">
              <a:spcBef>
                <a:spcPts val="200"/>
              </a:spcBef>
              <a:buClr>
                <a:schemeClr val="tx2"/>
              </a:buClr>
              <a:buFont typeface="Wingdings" pitchFamily="2" charset="2"/>
              <a:buNone/>
              <a:defRPr sz="2400" kern="1200">
                <a:solidFill>
                  <a:schemeClr val="tx2"/>
                </a:solidFill>
                <a:latin typeface="+mj-lt"/>
                <a:ea typeface="+mn-ea"/>
                <a:cs typeface="+mn-cs"/>
              </a:defRPr>
            </a:lvl2pPr>
            <a:lvl3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3pPr>
            <a:lvl4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4pPr>
            <a:lvl5pPr marL="0" indent="0" algn="l" defTabSz="914400" rtl="0" eaLnBrk="1" latinLnBrk="0" hangingPunct="1">
              <a:spcBef>
                <a:spcPts val="200"/>
              </a:spcBef>
              <a:buClr>
                <a:schemeClr val="tx2"/>
              </a:buClr>
              <a:buFont typeface="Symbol" pitchFamily="18" charset="2"/>
              <a:buNone/>
              <a:defRPr sz="2400" kern="1200">
                <a:solidFill>
                  <a:schemeClr val="tx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smtClean="0"/>
              <a:t>APC vs. SNIP for Publishers by Fully OA/Hybrid</a:t>
            </a:r>
            <a:r>
              <a:rPr lang="en-US" sz="1600" dirty="0" smtClean="0"/>
              <a:t>:</a:t>
            </a:r>
          </a:p>
          <a:p>
            <a:r>
              <a:rPr lang="en-US" sz="1200" dirty="0" smtClean="0">
                <a:solidFill>
                  <a:schemeClr val="accent2"/>
                </a:solidFill>
              </a:rPr>
              <a:t>All publishers (2017-2018) </a:t>
            </a:r>
            <a:endParaRPr lang="en-US" sz="1200" b="1" dirty="0">
              <a:solidFill>
                <a:schemeClr val="accent2"/>
              </a:solidFill>
            </a:endParaRPr>
          </a:p>
        </p:txBody>
      </p:sp>
      <p:sp>
        <p:nvSpPr>
          <p:cNvPr id="11" name="Foliennummernplatzhalter 2"/>
          <p:cNvSpPr>
            <a:spLocks noGrp="1"/>
          </p:cNvSpPr>
          <p:nvPr>
            <p:ph type="sldNum" sz="quarter" idx="12"/>
          </p:nvPr>
        </p:nvSpPr>
        <p:spPr>
          <a:xfrm>
            <a:off x="8931442" y="6592861"/>
            <a:ext cx="773912" cy="167164"/>
          </a:xfrm>
        </p:spPr>
        <p:txBody>
          <a:bodyPr/>
          <a:lstStyle/>
          <a:p>
            <a:fld id="{4AD1E780-DE1C-4ECA-B5E5-863D0BC53287}" type="slidenum">
              <a:rPr lang="de-DE" smtClean="0"/>
              <a:pPr/>
              <a:t>43</a:t>
            </a:fld>
            <a:endParaRPr lang="de-DE" dirty="0"/>
          </a:p>
        </p:txBody>
      </p:sp>
    </p:spTree>
    <p:extLst>
      <p:ext uri="{BB962C8B-B14F-4D97-AF65-F5344CB8AC3E}">
        <p14:creationId xmlns:p14="http://schemas.microsoft.com/office/powerpoint/2010/main" val="302162793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2"/>
          <p:cNvSpPr txBox="1">
            <a:spLocks/>
          </p:cNvSpPr>
          <p:nvPr/>
        </p:nvSpPr>
        <p:spPr>
          <a:xfrm>
            <a:off x="302341" y="426280"/>
            <a:ext cx="9174168"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Additional </a:t>
            </a:r>
            <a:r>
              <a:rPr lang="de-DE" sz="3600" b="1" dirty="0" err="1" smtClean="0">
                <a:solidFill>
                  <a:schemeClr val="accent6"/>
                </a:solidFill>
              </a:rPr>
              <a:t>leverage</a:t>
            </a:r>
            <a:r>
              <a:rPr lang="de-DE" sz="3600" b="1" dirty="0" smtClean="0">
                <a:solidFill>
                  <a:schemeClr val="accent6"/>
                </a:solidFill>
              </a:rPr>
              <a:t> in </a:t>
            </a:r>
            <a:r>
              <a:rPr lang="de-DE" sz="3600" b="1" dirty="0" err="1" smtClean="0">
                <a:solidFill>
                  <a:schemeClr val="accent6"/>
                </a:solidFill>
              </a:rPr>
              <a:t>shared</a:t>
            </a:r>
            <a:r>
              <a:rPr lang="de-DE" sz="3600" b="1" dirty="0" smtClean="0">
                <a:solidFill>
                  <a:schemeClr val="accent6"/>
                </a:solidFill>
              </a:rPr>
              <a:t> </a:t>
            </a:r>
            <a:r>
              <a:rPr lang="de-DE" sz="3600" b="1" dirty="0" err="1" smtClean="0">
                <a:solidFill>
                  <a:schemeClr val="accent6"/>
                </a:solidFill>
              </a:rPr>
              <a:t>knowledge</a:t>
            </a:r>
            <a:r>
              <a:rPr lang="de-DE" sz="3600" b="1" dirty="0" smtClean="0">
                <a:solidFill>
                  <a:schemeClr val="accent6"/>
                </a:solidFill>
              </a:rPr>
              <a:t> </a:t>
            </a:r>
            <a:endParaRPr lang="de-DE" sz="3600" dirty="0"/>
          </a:p>
        </p:txBody>
      </p:sp>
      <p:pic>
        <p:nvPicPr>
          <p:cNvPr id="6" name="Picture 5"/>
          <p:cNvPicPr>
            <a:picLocks noChangeAspect="1"/>
          </p:cNvPicPr>
          <p:nvPr/>
        </p:nvPicPr>
        <p:blipFill>
          <a:blip r:embed="rId3"/>
          <a:stretch>
            <a:fillRect/>
          </a:stretch>
        </p:blipFill>
        <p:spPr>
          <a:xfrm>
            <a:off x="354926" y="1354338"/>
            <a:ext cx="4643172" cy="944645"/>
          </a:xfrm>
          <a:prstGeom prst="rect">
            <a:avLst/>
          </a:prstGeom>
        </p:spPr>
      </p:pic>
      <p:sp>
        <p:nvSpPr>
          <p:cNvPr id="7" name="TextBox 6"/>
          <p:cNvSpPr txBox="1"/>
          <p:nvPr/>
        </p:nvSpPr>
        <p:spPr>
          <a:xfrm>
            <a:off x="354926" y="5920226"/>
            <a:ext cx="9531927" cy="276999"/>
          </a:xfrm>
          <a:prstGeom prst="rect">
            <a:avLst/>
          </a:prstGeom>
          <a:noFill/>
        </p:spPr>
        <p:txBody>
          <a:bodyPr wrap="square" rtlCol="0">
            <a:spAutoFit/>
          </a:bodyPr>
          <a:lstStyle/>
          <a:p>
            <a:r>
              <a:rPr lang="en-GB" sz="1200" dirty="0">
                <a:hlinkClick r:id="rId4"/>
              </a:rPr>
              <a:t>http://</a:t>
            </a:r>
            <a:r>
              <a:rPr lang="en-GB" sz="1200" dirty="0" smtClean="0">
                <a:hlinkClick r:id="rId4"/>
              </a:rPr>
              <a:t>esac-initiative.org/wp-content/uploads/2018/07/esac_apc_workshopIII_outcome_report_final.pdf</a:t>
            </a:r>
            <a:r>
              <a:rPr lang="en-GB" sz="1200" dirty="0" smtClean="0"/>
              <a:t> </a:t>
            </a:r>
            <a:endParaRPr lang="en-GB" sz="1200" dirty="0"/>
          </a:p>
        </p:txBody>
      </p:sp>
      <p:sp>
        <p:nvSpPr>
          <p:cNvPr id="8" name="TextBox 7"/>
          <p:cNvSpPr txBox="1"/>
          <p:nvPr/>
        </p:nvSpPr>
        <p:spPr>
          <a:xfrm>
            <a:off x="2295463" y="2492188"/>
            <a:ext cx="5839548" cy="2862322"/>
          </a:xfrm>
          <a:prstGeom prst="rect">
            <a:avLst/>
          </a:prstGeom>
          <a:noFill/>
        </p:spPr>
        <p:txBody>
          <a:bodyPr wrap="square" rtlCol="0">
            <a:spAutoFit/>
          </a:bodyPr>
          <a:lstStyle/>
          <a:p>
            <a:r>
              <a:rPr lang="en-GB" dirty="0" smtClean="0">
                <a:solidFill>
                  <a:schemeClr val="bg1">
                    <a:lumMod val="50000"/>
                  </a:schemeClr>
                </a:solidFill>
              </a:rPr>
              <a:t>Pure gold APCs reflect production costs and services whereas hybrid APCs reflect current revenues and profit margins of the subscription business</a:t>
            </a:r>
          </a:p>
          <a:p>
            <a:endParaRPr lang="en-GB" dirty="0" smtClean="0">
              <a:solidFill>
                <a:schemeClr val="bg1">
                  <a:lumMod val="50000"/>
                </a:schemeClr>
              </a:solidFill>
            </a:endParaRPr>
          </a:p>
          <a:p>
            <a:r>
              <a:rPr lang="en-GB" dirty="0" smtClean="0">
                <a:solidFill>
                  <a:schemeClr val="bg1">
                    <a:lumMod val="50000"/>
                  </a:schemeClr>
                </a:solidFill>
              </a:rPr>
              <a:t>APC price points are not justified by value indicators such as SNIP</a:t>
            </a:r>
          </a:p>
          <a:p>
            <a:endParaRPr lang="en-GB" dirty="0">
              <a:solidFill>
                <a:schemeClr val="bg1">
                  <a:lumMod val="50000"/>
                </a:schemeClr>
              </a:solidFill>
            </a:endParaRPr>
          </a:p>
          <a:p>
            <a:r>
              <a:rPr lang="en-GB" dirty="0" smtClean="0">
                <a:solidFill>
                  <a:schemeClr val="bg1">
                    <a:lumMod val="50000"/>
                  </a:schemeClr>
                </a:solidFill>
              </a:rPr>
              <a:t>Median APC price points are the key drivers in the overall evolution of costs and need to be closely monitored</a:t>
            </a:r>
            <a:r>
              <a:rPr lang="en-GB" dirty="0" smtClean="0"/>
              <a:t> </a:t>
            </a:r>
            <a:endParaRPr lang="en-GB" dirty="0"/>
          </a:p>
        </p:txBody>
      </p:sp>
      <p:sp>
        <p:nvSpPr>
          <p:cNvPr id="10" name="Foliennummernplatzhalter 2"/>
          <p:cNvSpPr>
            <a:spLocks noGrp="1"/>
          </p:cNvSpPr>
          <p:nvPr>
            <p:ph type="sldNum" sz="quarter" idx="12"/>
          </p:nvPr>
        </p:nvSpPr>
        <p:spPr>
          <a:xfrm>
            <a:off x="8931442" y="6592861"/>
            <a:ext cx="773912" cy="167164"/>
          </a:xfrm>
        </p:spPr>
        <p:txBody>
          <a:bodyPr/>
          <a:lstStyle/>
          <a:p>
            <a:fld id="{4AD1E780-DE1C-4ECA-B5E5-863D0BC53287}" type="slidenum">
              <a:rPr lang="de-DE" smtClean="0"/>
              <a:pPr/>
              <a:t>44</a:t>
            </a:fld>
            <a:endParaRPr lang="de-DE" dirty="0"/>
          </a:p>
        </p:txBody>
      </p:sp>
    </p:spTree>
    <p:extLst>
      <p:ext uri="{BB962C8B-B14F-4D97-AF65-F5344CB8AC3E}">
        <p14:creationId xmlns:p14="http://schemas.microsoft.com/office/powerpoint/2010/main" val="87337884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2"/>
          <p:cNvSpPr txBox="1">
            <a:spLocks/>
          </p:cNvSpPr>
          <p:nvPr/>
        </p:nvSpPr>
        <p:spPr>
          <a:xfrm>
            <a:off x="302341" y="426280"/>
            <a:ext cx="9174168"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Additional </a:t>
            </a:r>
            <a:r>
              <a:rPr lang="de-DE" sz="3600" b="1" dirty="0" err="1" smtClean="0">
                <a:solidFill>
                  <a:schemeClr val="accent6"/>
                </a:solidFill>
              </a:rPr>
              <a:t>leverage</a:t>
            </a:r>
            <a:r>
              <a:rPr lang="de-DE" sz="3600" b="1" dirty="0" smtClean="0">
                <a:solidFill>
                  <a:schemeClr val="accent6"/>
                </a:solidFill>
              </a:rPr>
              <a:t> in </a:t>
            </a:r>
            <a:r>
              <a:rPr lang="de-DE" sz="3600" b="1" dirty="0" err="1" smtClean="0">
                <a:solidFill>
                  <a:schemeClr val="accent6"/>
                </a:solidFill>
              </a:rPr>
              <a:t>decreasing</a:t>
            </a:r>
            <a:r>
              <a:rPr lang="de-DE" sz="3600" b="1" dirty="0" smtClean="0">
                <a:solidFill>
                  <a:schemeClr val="accent6"/>
                </a:solidFill>
              </a:rPr>
              <a:t> </a:t>
            </a:r>
            <a:r>
              <a:rPr lang="de-DE" sz="3600" b="1" dirty="0" err="1" smtClean="0">
                <a:solidFill>
                  <a:schemeClr val="accent6"/>
                </a:solidFill>
              </a:rPr>
              <a:t>value</a:t>
            </a:r>
            <a:r>
              <a:rPr lang="de-DE" sz="3600" b="1" dirty="0" smtClean="0">
                <a:solidFill>
                  <a:schemeClr val="accent6"/>
                </a:solidFill>
              </a:rPr>
              <a:t> </a:t>
            </a:r>
            <a:r>
              <a:rPr lang="de-DE" sz="3600" b="1" dirty="0" err="1" smtClean="0">
                <a:solidFill>
                  <a:schemeClr val="accent6"/>
                </a:solidFill>
              </a:rPr>
              <a:t>of</a:t>
            </a:r>
            <a:r>
              <a:rPr lang="de-DE" sz="3600" b="1" dirty="0" smtClean="0">
                <a:solidFill>
                  <a:schemeClr val="accent6"/>
                </a:solidFill>
              </a:rPr>
              <a:t> </a:t>
            </a:r>
            <a:r>
              <a:rPr lang="de-DE" sz="3600" b="1" dirty="0" err="1" smtClean="0">
                <a:solidFill>
                  <a:schemeClr val="accent6"/>
                </a:solidFill>
              </a:rPr>
              <a:t>subscriptions</a:t>
            </a:r>
            <a:endParaRPr lang="de-DE" sz="3600" dirty="0"/>
          </a:p>
        </p:txBody>
      </p:sp>
      <p:sp>
        <p:nvSpPr>
          <p:cNvPr id="10" name="TextBox 9"/>
          <p:cNvSpPr txBox="1"/>
          <p:nvPr/>
        </p:nvSpPr>
        <p:spPr>
          <a:xfrm>
            <a:off x="352788" y="5978708"/>
            <a:ext cx="9145641" cy="261610"/>
          </a:xfrm>
          <a:prstGeom prst="rect">
            <a:avLst/>
          </a:prstGeom>
          <a:noFill/>
        </p:spPr>
        <p:txBody>
          <a:bodyPr wrap="square" rtlCol="0">
            <a:spAutoFit/>
          </a:bodyPr>
          <a:lstStyle/>
          <a:p>
            <a:r>
              <a:rPr lang="en-US" sz="1100" u="sng" dirty="0">
                <a:hlinkClick r:id="rId3"/>
              </a:rPr>
              <a:t>https://www.slideshare.net/HenrikKarlstrm1/expanded-usage-metrics-for-literature-resources-105601917</a:t>
            </a:r>
            <a:endParaRPr lang="en-GB" sz="1100" dirty="0"/>
          </a:p>
        </p:txBody>
      </p:sp>
      <p:pic>
        <p:nvPicPr>
          <p:cNvPr id="11" name="Picture 10"/>
          <p:cNvPicPr>
            <a:picLocks noChangeAspect="1"/>
          </p:cNvPicPr>
          <p:nvPr/>
        </p:nvPicPr>
        <p:blipFill>
          <a:blip r:embed="rId4"/>
          <a:stretch>
            <a:fillRect/>
          </a:stretch>
        </p:blipFill>
        <p:spPr>
          <a:xfrm>
            <a:off x="371707" y="2882542"/>
            <a:ext cx="9032137" cy="1986940"/>
          </a:xfrm>
          <a:prstGeom prst="rect">
            <a:avLst/>
          </a:prstGeom>
        </p:spPr>
      </p:pic>
      <p:pic>
        <p:nvPicPr>
          <p:cNvPr id="12" name="Picture 11"/>
          <p:cNvPicPr>
            <a:picLocks noChangeAspect="1"/>
          </p:cNvPicPr>
          <p:nvPr/>
        </p:nvPicPr>
        <p:blipFill>
          <a:blip r:embed="rId5"/>
          <a:stretch>
            <a:fillRect/>
          </a:stretch>
        </p:blipFill>
        <p:spPr>
          <a:xfrm>
            <a:off x="385469" y="2059412"/>
            <a:ext cx="6302201" cy="817150"/>
          </a:xfrm>
          <a:prstGeom prst="rect">
            <a:avLst/>
          </a:prstGeom>
        </p:spPr>
      </p:pic>
      <p:pic>
        <p:nvPicPr>
          <p:cNvPr id="13" name="Picture 12"/>
          <p:cNvPicPr>
            <a:picLocks noChangeAspect="1"/>
          </p:cNvPicPr>
          <p:nvPr/>
        </p:nvPicPr>
        <p:blipFill>
          <a:blip r:embed="rId6"/>
          <a:stretch>
            <a:fillRect/>
          </a:stretch>
        </p:blipFill>
        <p:spPr>
          <a:xfrm>
            <a:off x="418391" y="6210813"/>
            <a:ext cx="1376393" cy="372992"/>
          </a:xfrm>
          <a:prstGeom prst="rect">
            <a:avLst/>
          </a:prstGeom>
        </p:spPr>
      </p:pic>
      <p:sp>
        <p:nvSpPr>
          <p:cNvPr id="14" name="Foliennummernplatzhalter 2"/>
          <p:cNvSpPr>
            <a:spLocks noGrp="1"/>
          </p:cNvSpPr>
          <p:nvPr>
            <p:ph type="sldNum" sz="quarter" idx="12"/>
          </p:nvPr>
        </p:nvSpPr>
        <p:spPr>
          <a:xfrm>
            <a:off x="8931442" y="6592861"/>
            <a:ext cx="773912" cy="167164"/>
          </a:xfrm>
        </p:spPr>
        <p:txBody>
          <a:bodyPr/>
          <a:lstStyle/>
          <a:p>
            <a:fld id="{4AD1E780-DE1C-4ECA-B5E5-863D0BC53287}" type="slidenum">
              <a:rPr lang="de-DE" smtClean="0"/>
              <a:pPr/>
              <a:t>45</a:t>
            </a:fld>
            <a:endParaRPr lang="de-DE" dirty="0"/>
          </a:p>
        </p:txBody>
      </p:sp>
    </p:spTree>
    <p:extLst>
      <p:ext uri="{BB962C8B-B14F-4D97-AF65-F5344CB8AC3E}">
        <p14:creationId xmlns:p14="http://schemas.microsoft.com/office/powerpoint/2010/main" val="14472462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46</a:t>
            </a:fld>
            <a:endParaRPr lang="de-DE" dirty="0"/>
          </a:p>
        </p:txBody>
      </p:sp>
      <p:sp>
        <p:nvSpPr>
          <p:cNvPr id="5" name="Textplatzhalter 2"/>
          <p:cNvSpPr txBox="1">
            <a:spLocks/>
          </p:cNvSpPr>
          <p:nvPr/>
        </p:nvSpPr>
        <p:spPr>
          <a:xfrm>
            <a:off x="302341" y="426280"/>
            <a:ext cx="9174168"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Additional </a:t>
            </a:r>
            <a:r>
              <a:rPr lang="de-DE" sz="3600" b="1" dirty="0" err="1" smtClean="0">
                <a:solidFill>
                  <a:schemeClr val="accent6"/>
                </a:solidFill>
              </a:rPr>
              <a:t>leverage</a:t>
            </a:r>
            <a:r>
              <a:rPr lang="de-DE" sz="3600" b="1" dirty="0" smtClean="0">
                <a:solidFill>
                  <a:schemeClr val="accent6"/>
                </a:solidFill>
              </a:rPr>
              <a:t> in </a:t>
            </a:r>
            <a:r>
              <a:rPr lang="de-DE" sz="3600" b="1" dirty="0" err="1" smtClean="0">
                <a:solidFill>
                  <a:schemeClr val="accent6"/>
                </a:solidFill>
              </a:rPr>
              <a:t>growth</a:t>
            </a:r>
            <a:r>
              <a:rPr lang="de-DE" sz="3600" b="1" dirty="0" smtClean="0">
                <a:solidFill>
                  <a:schemeClr val="accent6"/>
                </a:solidFill>
              </a:rPr>
              <a:t> </a:t>
            </a:r>
            <a:r>
              <a:rPr lang="de-DE" sz="3600" b="1" dirty="0" err="1" smtClean="0">
                <a:solidFill>
                  <a:schemeClr val="accent6"/>
                </a:solidFill>
              </a:rPr>
              <a:t>trend</a:t>
            </a:r>
            <a:r>
              <a:rPr lang="de-DE" sz="3600" b="1" dirty="0" smtClean="0">
                <a:solidFill>
                  <a:schemeClr val="accent6"/>
                </a:solidFill>
              </a:rPr>
              <a:t> </a:t>
            </a:r>
            <a:r>
              <a:rPr lang="de-DE" sz="3600" b="1" dirty="0" err="1" smtClean="0">
                <a:solidFill>
                  <a:schemeClr val="accent6"/>
                </a:solidFill>
              </a:rPr>
              <a:t>of</a:t>
            </a:r>
            <a:r>
              <a:rPr lang="de-DE" sz="3600" b="1" dirty="0" smtClean="0">
                <a:solidFill>
                  <a:schemeClr val="accent6"/>
                </a:solidFill>
              </a:rPr>
              <a:t> open </a:t>
            </a:r>
            <a:r>
              <a:rPr lang="de-DE" sz="3600" b="1" dirty="0" err="1" smtClean="0">
                <a:solidFill>
                  <a:schemeClr val="accent6"/>
                </a:solidFill>
              </a:rPr>
              <a:t>access</a:t>
            </a:r>
            <a:r>
              <a:rPr lang="de-DE" sz="3600" b="1" dirty="0" smtClean="0">
                <a:solidFill>
                  <a:schemeClr val="accent6"/>
                </a:solidFill>
              </a:rPr>
              <a:t> </a:t>
            </a:r>
            <a:r>
              <a:rPr lang="de-DE" sz="3600" b="1" dirty="0" err="1" smtClean="0">
                <a:solidFill>
                  <a:schemeClr val="accent6"/>
                </a:solidFill>
              </a:rPr>
              <a:t>publishing</a:t>
            </a:r>
            <a:endParaRPr lang="de-DE" sz="3600" dirty="0"/>
          </a:p>
        </p:txBody>
      </p:sp>
      <p:pic>
        <p:nvPicPr>
          <p:cNvPr id="1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11535"/>
          <a:stretch/>
        </p:blipFill>
        <p:spPr bwMode="auto">
          <a:xfrm>
            <a:off x="376794" y="1742037"/>
            <a:ext cx="6947644" cy="45471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0"/>
          <p:cNvPicPr>
            <a:picLocks noChangeAspect="1"/>
          </p:cNvPicPr>
          <p:nvPr/>
        </p:nvPicPr>
        <p:blipFill>
          <a:blip r:embed="rId4"/>
          <a:stretch>
            <a:fillRect/>
          </a:stretch>
        </p:blipFill>
        <p:spPr>
          <a:xfrm>
            <a:off x="7416803" y="2038018"/>
            <a:ext cx="938094" cy="3955210"/>
          </a:xfrm>
          <a:prstGeom prst="rect">
            <a:avLst/>
          </a:prstGeom>
        </p:spPr>
      </p:pic>
      <p:sp>
        <p:nvSpPr>
          <p:cNvPr id="7" name="Freihandform 6"/>
          <p:cNvSpPr/>
          <p:nvPr/>
        </p:nvSpPr>
        <p:spPr>
          <a:xfrm>
            <a:off x="7648884" y="5958738"/>
            <a:ext cx="2258125" cy="60555"/>
          </a:xfrm>
          <a:custGeom>
            <a:avLst/>
            <a:gdLst>
              <a:gd name="connsiteX0" fmla="*/ 0 w 2464641"/>
              <a:gd name="connsiteY0" fmla="*/ 835677 h 835677"/>
              <a:gd name="connsiteX1" fmla="*/ 0 w 2464641"/>
              <a:gd name="connsiteY1" fmla="*/ 0 h 835677"/>
              <a:gd name="connsiteX2" fmla="*/ 2464641 w 2464641"/>
              <a:gd name="connsiteY2" fmla="*/ 0 h 835677"/>
              <a:gd name="connsiteX0" fmla="*/ 0 w 2464641"/>
              <a:gd name="connsiteY0" fmla="*/ 0 h 0"/>
              <a:gd name="connsiteX1" fmla="*/ 2464641 w 2464641"/>
              <a:gd name="connsiteY1" fmla="*/ 0 h 0"/>
            </a:gdLst>
            <a:ahLst/>
            <a:cxnLst>
              <a:cxn ang="0">
                <a:pos x="connsiteX0" y="connsiteY0"/>
              </a:cxn>
              <a:cxn ang="0">
                <a:pos x="connsiteX1" y="connsiteY1"/>
              </a:cxn>
            </a:cxnLst>
            <a:rect l="l" t="t" r="r" b="b"/>
            <a:pathLst>
              <a:path w="2464641">
                <a:moveTo>
                  <a:pt x="0" y="0"/>
                </a:moveTo>
                <a:lnTo>
                  <a:pt x="2464641" y="0"/>
                </a:lnTo>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94407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47</a:t>
            </a:fld>
            <a:endParaRPr lang="de-DE" dirty="0"/>
          </a:p>
        </p:txBody>
      </p:sp>
      <p:sp>
        <p:nvSpPr>
          <p:cNvPr id="5" name="Textplatzhalter 2"/>
          <p:cNvSpPr txBox="1">
            <a:spLocks/>
          </p:cNvSpPr>
          <p:nvPr/>
        </p:nvSpPr>
        <p:spPr>
          <a:xfrm>
            <a:off x="302341" y="426280"/>
            <a:ext cx="9174168"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Additional </a:t>
            </a:r>
            <a:r>
              <a:rPr lang="de-DE" sz="3600" b="1" dirty="0" err="1" smtClean="0">
                <a:solidFill>
                  <a:schemeClr val="accent6"/>
                </a:solidFill>
              </a:rPr>
              <a:t>leverage</a:t>
            </a:r>
            <a:r>
              <a:rPr lang="de-DE" sz="3600" b="1" dirty="0" smtClean="0">
                <a:solidFill>
                  <a:schemeClr val="accent6"/>
                </a:solidFill>
              </a:rPr>
              <a:t> in </a:t>
            </a:r>
            <a:r>
              <a:rPr lang="de-DE" sz="3600" b="1" dirty="0" err="1" smtClean="0">
                <a:solidFill>
                  <a:schemeClr val="accent6"/>
                </a:solidFill>
              </a:rPr>
              <a:t>timing</a:t>
            </a:r>
            <a:r>
              <a:rPr lang="de-DE" sz="3600" b="1" dirty="0" smtClean="0">
                <a:solidFill>
                  <a:schemeClr val="accent6"/>
                </a:solidFill>
              </a:rPr>
              <a:t> </a:t>
            </a:r>
            <a:r>
              <a:rPr lang="de-DE" sz="3600" b="1" dirty="0" err="1" smtClean="0">
                <a:solidFill>
                  <a:schemeClr val="accent6"/>
                </a:solidFill>
              </a:rPr>
              <a:t>and</a:t>
            </a:r>
            <a:r>
              <a:rPr lang="de-DE" sz="3600" b="1" dirty="0" smtClean="0">
                <a:solidFill>
                  <a:schemeClr val="accent6"/>
                </a:solidFill>
              </a:rPr>
              <a:t> </a:t>
            </a:r>
            <a:r>
              <a:rPr lang="de-DE" sz="3600" b="1" dirty="0" err="1" smtClean="0">
                <a:solidFill>
                  <a:schemeClr val="accent6"/>
                </a:solidFill>
              </a:rPr>
              <a:t>public</a:t>
            </a:r>
            <a:r>
              <a:rPr lang="de-DE" sz="3600" b="1" dirty="0" smtClean="0">
                <a:solidFill>
                  <a:schemeClr val="accent6"/>
                </a:solidFill>
              </a:rPr>
              <a:t> </a:t>
            </a:r>
            <a:r>
              <a:rPr lang="de-DE" sz="3600" b="1" dirty="0" err="1" smtClean="0">
                <a:solidFill>
                  <a:schemeClr val="accent6"/>
                </a:solidFill>
              </a:rPr>
              <a:t>opinion</a:t>
            </a:r>
            <a:endParaRPr lang="de-DE" sz="3600" dirty="0"/>
          </a:p>
        </p:txBody>
      </p:sp>
      <p:pic>
        <p:nvPicPr>
          <p:cNvPr id="16"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808"/>
          <a:stretch/>
        </p:blipFill>
        <p:spPr bwMode="auto">
          <a:xfrm>
            <a:off x="2819509" y="4623065"/>
            <a:ext cx="4378401" cy="1221482"/>
          </a:xfrm>
          <a:prstGeom prst="rect">
            <a:avLst/>
          </a:prstGeom>
          <a:noFill/>
          <a:ln w="9525">
            <a:no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7" name="Rechteck 3"/>
          <p:cNvSpPr/>
          <p:nvPr/>
        </p:nvSpPr>
        <p:spPr>
          <a:xfrm>
            <a:off x="2819508" y="5983534"/>
            <a:ext cx="4461185" cy="461665"/>
          </a:xfrm>
          <a:prstGeom prst="rect">
            <a:avLst/>
          </a:prstGeom>
        </p:spPr>
        <p:txBody>
          <a:bodyPr wrap="square">
            <a:spAutoFit/>
          </a:bodyPr>
          <a:lstStyle/>
          <a:p>
            <a:pPr defTabSz="457200" fontAlgn="base">
              <a:spcBef>
                <a:spcPct val="0"/>
              </a:spcBef>
              <a:spcAft>
                <a:spcPct val="0"/>
              </a:spcAft>
            </a:pPr>
            <a:r>
              <a:rPr lang="de-DE" sz="1200" dirty="0">
                <a:solidFill>
                  <a:schemeClr val="accent4"/>
                </a:solidFill>
                <a:latin typeface="Arial" charset="0"/>
                <a:ea typeface="Geneva" charset="-128"/>
              </a:rPr>
              <a:t>http://www.sciencemag.org/news/2017/10/german-researchers-resign-elsevier-journals-push-nationwide-open-access</a:t>
            </a:r>
          </a:p>
        </p:txBody>
      </p:sp>
      <p:pic>
        <p:nvPicPr>
          <p:cNvPr id="2" name="Picture 1"/>
          <p:cNvPicPr>
            <a:picLocks noChangeAspect="1"/>
          </p:cNvPicPr>
          <p:nvPr/>
        </p:nvPicPr>
        <p:blipFill rotWithShape="1">
          <a:blip r:embed="rId4"/>
          <a:srcRect l="-1323" t="3525" r="-745"/>
          <a:stretch/>
        </p:blipFill>
        <p:spPr>
          <a:xfrm>
            <a:off x="302342" y="3083731"/>
            <a:ext cx="6054316" cy="1262135"/>
          </a:xfrm>
          <a:prstGeom prst="rect">
            <a:avLst/>
          </a:prstGeom>
          <a:solidFill>
            <a:schemeClr val="bg1"/>
          </a:solidFill>
          <a:effectLst>
            <a:outerShdw blurRad="50800" dist="38100" dir="2700000" algn="tl" rotWithShape="0">
              <a:prstClr val="black">
                <a:alpha val="40000"/>
              </a:prstClr>
            </a:outerShdw>
          </a:effectLst>
        </p:spPr>
      </p:pic>
      <p:sp>
        <p:nvSpPr>
          <p:cNvPr id="6" name="TextBox 5"/>
          <p:cNvSpPr txBox="1"/>
          <p:nvPr/>
        </p:nvSpPr>
        <p:spPr>
          <a:xfrm>
            <a:off x="321259" y="4330579"/>
            <a:ext cx="5135418" cy="276999"/>
          </a:xfrm>
          <a:prstGeom prst="rect">
            <a:avLst/>
          </a:prstGeom>
          <a:noFill/>
        </p:spPr>
        <p:txBody>
          <a:bodyPr wrap="square" rtlCol="0">
            <a:spAutoFit/>
          </a:bodyPr>
          <a:lstStyle/>
          <a:p>
            <a:r>
              <a:rPr lang="en-GB" sz="1200" dirty="0">
                <a:solidFill>
                  <a:schemeClr val="accent4"/>
                </a:solidFill>
              </a:rPr>
              <a:t>https://www.nature.com/articles/d41586-018-05754-1</a:t>
            </a:r>
          </a:p>
        </p:txBody>
      </p:sp>
      <p:pic>
        <p:nvPicPr>
          <p:cNvPr id="7" name="Picture 6"/>
          <p:cNvPicPr>
            <a:picLocks noChangeAspect="1"/>
          </p:cNvPicPr>
          <p:nvPr/>
        </p:nvPicPr>
        <p:blipFill rotWithShape="1">
          <a:blip r:embed="rId5"/>
          <a:srcRect l="-2383" r="-1469"/>
          <a:stretch/>
        </p:blipFill>
        <p:spPr>
          <a:xfrm>
            <a:off x="3121572" y="1295075"/>
            <a:ext cx="5353969" cy="1510933"/>
          </a:xfrm>
          <a:prstGeom prst="rect">
            <a:avLst/>
          </a:prstGeom>
          <a:solidFill>
            <a:schemeClr val="bg1"/>
          </a:solidFill>
          <a:effectLst>
            <a:outerShdw blurRad="50800" dist="38100" dir="2700000" algn="tl" rotWithShape="0">
              <a:prstClr val="black">
                <a:alpha val="40000"/>
              </a:prstClr>
            </a:outerShdw>
          </a:effectLst>
        </p:spPr>
      </p:pic>
      <p:sp>
        <p:nvSpPr>
          <p:cNvPr id="20" name="TextBox 19"/>
          <p:cNvSpPr txBox="1"/>
          <p:nvPr/>
        </p:nvSpPr>
        <p:spPr>
          <a:xfrm>
            <a:off x="3189409" y="2792798"/>
            <a:ext cx="5135418" cy="276999"/>
          </a:xfrm>
          <a:prstGeom prst="rect">
            <a:avLst/>
          </a:prstGeom>
          <a:noFill/>
        </p:spPr>
        <p:txBody>
          <a:bodyPr wrap="square" rtlCol="0">
            <a:spAutoFit/>
          </a:bodyPr>
          <a:lstStyle/>
          <a:p>
            <a:r>
              <a:rPr lang="en-GB" sz="1200" dirty="0">
                <a:solidFill>
                  <a:schemeClr val="accent4"/>
                </a:solidFill>
              </a:rPr>
              <a:t>http://</a:t>
            </a:r>
            <a:r>
              <a:rPr lang="en-GB" sz="1200" dirty="0" smtClean="0">
                <a:solidFill>
                  <a:schemeClr val="accent4"/>
                </a:solidFill>
              </a:rPr>
              <a:t>science.sciencemag.org/content/sci/361/6406/957.full.pdf </a:t>
            </a:r>
            <a:endParaRPr lang="en-GB" sz="1200" dirty="0">
              <a:solidFill>
                <a:schemeClr val="accent4"/>
              </a:solidFill>
            </a:endParaRPr>
          </a:p>
        </p:txBody>
      </p:sp>
    </p:spTree>
    <p:extLst>
      <p:ext uri="{BB962C8B-B14F-4D97-AF65-F5344CB8AC3E}">
        <p14:creationId xmlns:p14="http://schemas.microsoft.com/office/powerpoint/2010/main" val="214679019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48</a:t>
            </a:fld>
            <a:endParaRPr lang="de-DE" dirty="0"/>
          </a:p>
        </p:txBody>
      </p:sp>
      <p:sp>
        <p:nvSpPr>
          <p:cNvPr id="7" name="Textplatzhalter 2"/>
          <p:cNvSpPr txBox="1">
            <a:spLocks/>
          </p:cNvSpPr>
          <p:nvPr/>
        </p:nvSpPr>
        <p:spPr>
          <a:xfrm>
            <a:off x="302340" y="426280"/>
            <a:ext cx="9403013"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Stepping</a:t>
            </a:r>
            <a:r>
              <a:rPr lang="de-DE" sz="3600" b="1" dirty="0" smtClean="0">
                <a:solidFill>
                  <a:schemeClr val="accent6"/>
                </a:solidFill>
              </a:rPr>
              <a:t> </a:t>
            </a:r>
            <a:r>
              <a:rPr lang="de-DE" sz="3600" b="1" dirty="0" err="1" smtClean="0">
                <a:solidFill>
                  <a:schemeClr val="accent6"/>
                </a:solidFill>
              </a:rPr>
              <a:t>away</a:t>
            </a:r>
            <a:r>
              <a:rPr lang="de-DE" sz="3600" b="1" dirty="0" smtClean="0">
                <a:solidFill>
                  <a:schemeClr val="accent6"/>
                </a:solidFill>
              </a:rPr>
              <a:t> from </a:t>
            </a:r>
            <a:r>
              <a:rPr lang="de-DE" sz="3600" b="1" dirty="0" err="1" smtClean="0">
                <a:solidFill>
                  <a:schemeClr val="accent6"/>
                </a:solidFill>
              </a:rPr>
              <a:t>the</a:t>
            </a:r>
            <a:r>
              <a:rPr lang="de-DE" sz="3600" b="1" dirty="0" smtClean="0">
                <a:solidFill>
                  <a:schemeClr val="accent6"/>
                </a:solidFill>
              </a:rPr>
              <a:t> </a:t>
            </a:r>
            <a:r>
              <a:rPr lang="de-DE" sz="3600" b="1" dirty="0" err="1" smtClean="0">
                <a:solidFill>
                  <a:schemeClr val="accent6"/>
                </a:solidFill>
              </a:rPr>
              <a:t>table</a:t>
            </a:r>
            <a:r>
              <a:rPr lang="de-DE" sz="3600" b="1" dirty="0" smtClean="0">
                <a:solidFill>
                  <a:schemeClr val="accent6"/>
                </a:solidFill>
              </a:rPr>
              <a:t> IS an </a:t>
            </a:r>
            <a:r>
              <a:rPr lang="de-DE" sz="3600" b="1" dirty="0" err="1" smtClean="0">
                <a:solidFill>
                  <a:schemeClr val="accent6"/>
                </a:solidFill>
              </a:rPr>
              <a:t>option</a:t>
            </a:r>
            <a:endParaRPr lang="de-DE" sz="3600" dirty="0"/>
          </a:p>
        </p:txBody>
      </p:sp>
      <p:pic>
        <p:nvPicPr>
          <p:cNvPr id="8" name="Picture 7"/>
          <p:cNvPicPr>
            <a:picLocks noChangeAspect="1"/>
          </p:cNvPicPr>
          <p:nvPr/>
        </p:nvPicPr>
        <p:blipFill>
          <a:blip r:embed="rId2"/>
          <a:stretch>
            <a:fillRect/>
          </a:stretch>
        </p:blipFill>
        <p:spPr>
          <a:xfrm>
            <a:off x="3301613" y="1619191"/>
            <a:ext cx="2981544" cy="5024930"/>
          </a:xfrm>
          <a:prstGeom prst="rect">
            <a:avLst/>
          </a:prstGeom>
        </p:spPr>
      </p:pic>
      <p:pic>
        <p:nvPicPr>
          <p:cNvPr id="10" name="Picture 9"/>
          <p:cNvPicPr>
            <a:picLocks noChangeAspect="1"/>
          </p:cNvPicPr>
          <p:nvPr/>
        </p:nvPicPr>
        <p:blipFill>
          <a:blip r:embed="rId3"/>
          <a:stretch>
            <a:fillRect/>
          </a:stretch>
        </p:blipFill>
        <p:spPr>
          <a:xfrm>
            <a:off x="6743282" y="1619191"/>
            <a:ext cx="2586643" cy="2759458"/>
          </a:xfrm>
          <a:prstGeom prst="rect">
            <a:avLst/>
          </a:prstGeom>
        </p:spPr>
      </p:pic>
      <p:pic>
        <p:nvPicPr>
          <p:cNvPr id="11" name="Picture 10"/>
          <p:cNvPicPr>
            <a:picLocks noChangeAspect="1"/>
          </p:cNvPicPr>
          <p:nvPr/>
        </p:nvPicPr>
        <p:blipFill>
          <a:blip r:embed="rId4"/>
          <a:stretch>
            <a:fillRect/>
          </a:stretch>
        </p:blipFill>
        <p:spPr>
          <a:xfrm>
            <a:off x="574539" y="1619191"/>
            <a:ext cx="2266950" cy="2047875"/>
          </a:xfrm>
          <a:prstGeom prst="rect">
            <a:avLst/>
          </a:prstGeom>
        </p:spPr>
      </p:pic>
      <p:sp>
        <p:nvSpPr>
          <p:cNvPr id="12" name="TextBox 11"/>
          <p:cNvSpPr txBox="1"/>
          <p:nvPr/>
        </p:nvSpPr>
        <p:spPr>
          <a:xfrm>
            <a:off x="302341" y="5854197"/>
            <a:ext cx="2973599" cy="738664"/>
          </a:xfrm>
          <a:prstGeom prst="rect">
            <a:avLst/>
          </a:prstGeom>
          <a:noFill/>
        </p:spPr>
        <p:txBody>
          <a:bodyPr wrap="square" rtlCol="0">
            <a:spAutoFit/>
          </a:bodyPr>
          <a:lstStyle/>
          <a:p>
            <a:r>
              <a:rPr lang="en-GB" sz="1400" dirty="0">
                <a:solidFill>
                  <a:schemeClr val="accent6"/>
                </a:solidFill>
              </a:rPr>
              <a:t>http://www.openaccess.nl/sites/www.openaccess.nl/files/documenten/howtogettothepdf_march_2018.pdf</a:t>
            </a:r>
          </a:p>
        </p:txBody>
      </p:sp>
    </p:spTree>
    <p:extLst>
      <p:ext uri="{BB962C8B-B14F-4D97-AF65-F5344CB8AC3E}">
        <p14:creationId xmlns:p14="http://schemas.microsoft.com/office/powerpoint/2010/main" val="18235958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extplatzhalter 75"/>
          <p:cNvSpPr>
            <a:spLocks noGrp="1"/>
          </p:cNvSpPr>
          <p:nvPr>
            <p:ph type="body" sz="quarter" idx="13"/>
          </p:nvPr>
        </p:nvSpPr>
        <p:spPr/>
        <p:txBody>
          <a:bodyPr/>
          <a:lstStyle/>
          <a:p>
            <a:r>
              <a:rPr lang="de-DE" dirty="0" smtClean="0"/>
              <a:t>Die Schlüsselfrage</a:t>
            </a:r>
            <a:endParaRPr lang="de-DE" dirty="0"/>
          </a:p>
        </p:txBody>
      </p:sp>
      <p:sp>
        <p:nvSpPr>
          <p:cNvPr id="3" name="Rechteck 2"/>
          <p:cNvSpPr/>
          <p:nvPr/>
        </p:nvSpPr>
        <p:spPr>
          <a:xfrm>
            <a:off x="1411838" y="2182635"/>
            <a:ext cx="7515768" cy="3647152"/>
          </a:xfrm>
          <a:prstGeom prst="rect">
            <a:avLst/>
          </a:prstGeom>
        </p:spPr>
        <p:txBody>
          <a:bodyPr wrap="square">
            <a:spAutoFit/>
          </a:bodyPr>
          <a:lstStyle/>
          <a:p>
            <a:pPr>
              <a:lnSpc>
                <a:spcPct val="150000"/>
              </a:lnSpc>
            </a:pPr>
            <a:r>
              <a:rPr lang="de-DE" sz="2400" b="1" dirty="0" smtClean="0">
                <a:solidFill>
                  <a:srgbClr val="7F7F7F"/>
                </a:solidFill>
              </a:rPr>
              <a:t>Was müssen wir tun, um OA als Standard in der wissenschaftlichen Kommunikation zu verankern?</a:t>
            </a:r>
            <a:endParaRPr lang="de-DE" sz="2400" dirty="0" smtClean="0">
              <a:solidFill>
                <a:srgbClr val="7F7F7F"/>
              </a:solidFill>
            </a:endParaRPr>
          </a:p>
          <a:p>
            <a:pPr>
              <a:lnSpc>
                <a:spcPct val="150000"/>
              </a:lnSpc>
              <a:spcBef>
                <a:spcPts val="1800"/>
              </a:spcBef>
            </a:pPr>
            <a:r>
              <a:rPr lang="de-DE" sz="2400" dirty="0" smtClean="0">
                <a:solidFill>
                  <a:srgbClr val="7F7F7F"/>
                </a:solidFill>
              </a:rPr>
              <a:t>Wir können es uns erlauben, 15% von 100% entfernt zu sein. Aber es ist nicht hinnehmbar, nur 15% von Null entfernt zu sein, und das nach 15 Jahren OA-Bewegung</a:t>
            </a:r>
          </a:p>
        </p:txBody>
      </p:sp>
      <p:sp>
        <p:nvSpPr>
          <p:cNvPr id="8" name="Foliennummernplatzhalter 4"/>
          <p:cNvSpPr>
            <a:spLocks noGrp="1"/>
          </p:cNvSpPr>
          <p:nvPr>
            <p:ph type="sldNum" sz="quarter" idx="12"/>
          </p:nvPr>
        </p:nvSpPr>
        <p:spPr>
          <a:xfrm>
            <a:off x="8931442" y="6659477"/>
            <a:ext cx="773912" cy="167164"/>
          </a:xfrm>
        </p:spPr>
        <p:txBody>
          <a:bodyPr/>
          <a:lstStyle/>
          <a:p>
            <a:fld id="{4AD1E780-DE1C-4ECA-B5E5-863D0BC53287}" type="slidenum">
              <a:rPr lang="de-DE" smtClean="0">
                <a:solidFill>
                  <a:prstClr val="black">
                    <a:tint val="75000"/>
                  </a:prstClr>
                </a:solidFill>
              </a:rPr>
              <a:pPr/>
              <a:t>4</a:t>
            </a:fld>
            <a:endParaRPr lang="de-DE" dirty="0">
              <a:solidFill>
                <a:prstClr val="black">
                  <a:tint val="75000"/>
                </a:prstClr>
              </a:solidFill>
            </a:endParaRPr>
          </a:p>
        </p:txBody>
      </p:sp>
      <p:cxnSp>
        <p:nvCxnSpPr>
          <p:cNvPr id="9" name="Gerade Verbindung 8"/>
          <p:cNvCxnSpPr/>
          <p:nvPr/>
        </p:nvCxnSpPr>
        <p:spPr>
          <a:xfrm rot="5400000" flipH="1">
            <a:off x="1539774" y="1243015"/>
            <a:ext cx="0" cy="122605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 name="Gruppieren 10"/>
          <p:cNvGrpSpPr/>
          <p:nvPr/>
        </p:nvGrpSpPr>
        <p:grpSpPr>
          <a:xfrm>
            <a:off x="7281839" y="5220069"/>
            <a:ext cx="2072914" cy="847989"/>
            <a:chOff x="849262" y="3002589"/>
            <a:chExt cx="2072914" cy="847989"/>
          </a:xfrm>
        </p:grpSpPr>
        <p:cxnSp>
          <p:nvCxnSpPr>
            <p:cNvPr id="12" name="Gerade Verbindung 11"/>
            <p:cNvCxnSpPr/>
            <p:nvPr/>
          </p:nvCxnSpPr>
          <p:spPr>
            <a:xfrm rot="10800000" flipH="1">
              <a:off x="2067882" y="3002589"/>
              <a:ext cx="854294" cy="847988"/>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a:xfrm rot="5400000">
              <a:off x="1462289" y="3237551"/>
              <a:ext cx="0" cy="122605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7" name="Gerade Verbindung 16"/>
          <p:cNvCxnSpPr/>
          <p:nvPr/>
        </p:nvCxnSpPr>
        <p:spPr>
          <a:xfrm>
            <a:off x="926747" y="2241049"/>
            <a:ext cx="0" cy="122605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253082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llipse 3"/>
          <p:cNvSpPr/>
          <p:nvPr/>
        </p:nvSpPr>
        <p:spPr>
          <a:xfrm>
            <a:off x="1215025" y="3188136"/>
            <a:ext cx="7139835" cy="1258865"/>
          </a:xfrm>
          <a:prstGeom prst="ellipse">
            <a:avLst/>
          </a:prstGeom>
          <a:no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 name="Rechteck 3"/>
          <p:cNvSpPr/>
          <p:nvPr/>
        </p:nvSpPr>
        <p:spPr>
          <a:xfrm>
            <a:off x="-79285"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 name="Rechteck 3"/>
          <p:cNvSpPr/>
          <p:nvPr/>
        </p:nvSpPr>
        <p:spPr>
          <a:xfrm>
            <a:off x="1195157"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 name="Rechteck 3"/>
          <p:cNvSpPr/>
          <p:nvPr/>
        </p:nvSpPr>
        <p:spPr>
          <a:xfrm>
            <a:off x="2469599"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9" name="Rechteck 3"/>
          <p:cNvSpPr/>
          <p:nvPr/>
        </p:nvSpPr>
        <p:spPr>
          <a:xfrm>
            <a:off x="3744041"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0" name="Rechteck 3"/>
          <p:cNvSpPr/>
          <p:nvPr/>
        </p:nvSpPr>
        <p:spPr>
          <a:xfrm>
            <a:off x="5018483"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 name="Rechteck 3"/>
          <p:cNvSpPr/>
          <p:nvPr/>
        </p:nvSpPr>
        <p:spPr>
          <a:xfrm>
            <a:off x="6292925"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 name="Rechteck 3"/>
          <p:cNvSpPr/>
          <p:nvPr/>
        </p:nvSpPr>
        <p:spPr>
          <a:xfrm>
            <a:off x="7567367"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 name="Rechteck 3"/>
          <p:cNvSpPr/>
          <p:nvPr/>
        </p:nvSpPr>
        <p:spPr>
          <a:xfrm>
            <a:off x="8841810" y="5124976"/>
            <a:ext cx="1130865" cy="399524"/>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0 h 2592888"/>
              <a:gd name="connsiteX1" fmla="*/ 1947797 w 1947797"/>
              <a:gd name="connsiteY1" fmla="*/ 513568 h 2592888"/>
              <a:gd name="connsiteX2" fmla="*/ 1947797 w 1947797"/>
              <a:gd name="connsiteY2" fmla="*/ 2592888 h 2592888"/>
              <a:gd name="connsiteX3" fmla="*/ 0 w 1947797"/>
              <a:gd name="connsiteY3" fmla="*/ 2592888 h 2592888"/>
              <a:gd name="connsiteX4" fmla="*/ 0 w 1947797"/>
              <a:gd name="connsiteY4" fmla="*/ 0 h 2592888"/>
              <a:gd name="connsiteX0" fmla="*/ 9525 w 1947797"/>
              <a:gd name="connsiteY0" fmla="*/ 1439057 h 2079320"/>
              <a:gd name="connsiteX1" fmla="*/ 1947797 w 1947797"/>
              <a:gd name="connsiteY1" fmla="*/ 0 h 2079320"/>
              <a:gd name="connsiteX2" fmla="*/ 1947797 w 1947797"/>
              <a:gd name="connsiteY2" fmla="*/ 2079320 h 2079320"/>
              <a:gd name="connsiteX3" fmla="*/ 0 w 1947797"/>
              <a:gd name="connsiteY3" fmla="*/ 2079320 h 2079320"/>
              <a:gd name="connsiteX4" fmla="*/ 9525 w 1947797"/>
              <a:gd name="connsiteY4" fmla="*/ 1439057 h 2079320"/>
              <a:gd name="connsiteX0" fmla="*/ 9525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9525 w 1947797"/>
              <a:gd name="connsiteY4" fmla="*/ 782 h 641045"/>
              <a:gd name="connsiteX0" fmla="*/ 0 w 1957322"/>
              <a:gd name="connsiteY0" fmla="*/ 782 h 641045"/>
              <a:gd name="connsiteX1" fmla="*/ 1957322 w 1957322"/>
              <a:gd name="connsiteY1" fmla="*/ 0 h 641045"/>
              <a:gd name="connsiteX2" fmla="*/ 1957322 w 1957322"/>
              <a:gd name="connsiteY2" fmla="*/ 641045 h 641045"/>
              <a:gd name="connsiteX3" fmla="*/ 9525 w 1957322"/>
              <a:gd name="connsiteY3" fmla="*/ 641045 h 641045"/>
              <a:gd name="connsiteX4" fmla="*/ 0 w 1957322"/>
              <a:gd name="connsiteY4" fmla="*/ 782 h 641045"/>
              <a:gd name="connsiteX0" fmla="*/ 1905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19050 w 1947797"/>
              <a:gd name="connsiteY4" fmla="*/ 782 h 641045"/>
              <a:gd name="connsiteX0" fmla="*/ 0 w 1947797"/>
              <a:gd name="connsiteY0" fmla="*/ 782 h 641045"/>
              <a:gd name="connsiteX1" fmla="*/ 1947797 w 1947797"/>
              <a:gd name="connsiteY1" fmla="*/ 0 h 641045"/>
              <a:gd name="connsiteX2" fmla="*/ 1947797 w 1947797"/>
              <a:gd name="connsiteY2" fmla="*/ 641045 h 641045"/>
              <a:gd name="connsiteX3" fmla="*/ 0 w 1947797"/>
              <a:gd name="connsiteY3" fmla="*/ 641045 h 641045"/>
              <a:gd name="connsiteX4" fmla="*/ 0 w 1947797"/>
              <a:gd name="connsiteY4" fmla="*/ 782 h 64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7797" h="641045">
                <a:moveTo>
                  <a:pt x="0" y="782"/>
                </a:moveTo>
                <a:lnTo>
                  <a:pt x="1947797" y="0"/>
                </a:lnTo>
                <a:lnTo>
                  <a:pt x="1947797" y="641045"/>
                </a:lnTo>
                <a:lnTo>
                  <a:pt x="0" y="641045"/>
                </a:lnTo>
                <a:lnTo>
                  <a:pt x="0" y="782"/>
                </a:lnTo>
                <a:close/>
              </a:path>
            </a:pathLst>
          </a:custGeom>
          <a:solidFill>
            <a:schemeClr val="bg2"/>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 name="Rechteck 13"/>
          <p:cNvSpPr/>
          <p:nvPr/>
        </p:nvSpPr>
        <p:spPr>
          <a:xfrm rot="16200000" flipH="1">
            <a:off x="-536139" y="3919824"/>
            <a:ext cx="1980758"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15" name="Rechteck 14"/>
          <p:cNvSpPr/>
          <p:nvPr/>
        </p:nvSpPr>
        <p:spPr>
          <a:xfrm rot="16200000" flipH="1">
            <a:off x="725817" y="3919824"/>
            <a:ext cx="1980758" cy="638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17" name="Rechteck 16"/>
          <p:cNvSpPr/>
          <p:nvPr/>
        </p:nvSpPr>
        <p:spPr>
          <a:xfrm rot="16200000" flipH="1">
            <a:off x="3287187" y="3919824"/>
            <a:ext cx="1980758" cy="638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19" name="Rechteck 18"/>
          <p:cNvSpPr/>
          <p:nvPr/>
        </p:nvSpPr>
        <p:spPr>
          <a:xfrm rot="16200000" flipH="1">
            <a:off x="5867978" y="3919824"/>
            <a:ext cx="1980758" cy="638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21" name="Rechteck 20"/>
          <p:cNvSpPr/>
          <p:nvPr/>
        </p:nvSpPr>
        <p:spPr>
          <a:xfrm rot="16200000" flipH="1">
            <a:off x="8416863" y="3919824"/>
            <a:ext cx="1980758" cy="638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2" name="Foliennummernplatzhalter 1"/>
          <p:cNvSpPr>
            <a:spLocks noGrp="1"/>
          </p:cNvSpPr>
          <p:nvPr>
            <p:ph type="sldNum" sz="quarter" idx="12"/>
          </p:nvPr>
        </p:nvSpPr>
        <p:spPr/>
        <p:txBody>
          <a:bodyPr/>
          <a:lstStyle/>
          <a:p>
            <a:fld id="{4AD1E780-DE1C-4ECA-B5E5-863D0BC53287}" type="slidenum">
              <a:rPr lang="de-DE" smtClean="0"/>
              <a:pPr/>
              <a:t>49</a:t>
            </a:fld>
            <a:endParaRPr lang="de-DE" dirty="0"/>
          </a:p>
        </p:txBody>
      </p:sp>
      <p:sp>
        <p:nvSpPr>
          <p:cNvPr id="3" name="Textplatzhalter 2"/>
          <p:cNvSpPr>
            <a:spLocks noGrp="1"/>
          </p:cNvSpPr>
          <p:nvPr>
            <p:ph type="body" sz="quarter" idx="13"/>
          </p:nvPr>
        </p:nvSpPr>
        <p:spPr>
          <a:xfrm>
            <a:off x="346731" y="452914"/>
            <a:ext cx="8885499" cy="697671"/>
          </a:xfrm>
        </p:spPr>
        <p:txBody>
          <a:bodyPr anchor="t" anchorCtr="0"/>
          <a:lstStyle/>
          <a:p>
            <a:r>
              <a:rPr lang="de-DE" sz="3600" b="1" dirty="0" err="1" smtClean="0">
                <a:solidFill>
                  <a:schemeClr val="accent6"/>
                </a:solidFill>
              </a:rPr>
              <a:t>Collaborate</a:t>
            </a:r>
            <a:r>
              <a:rPr lang="de-DE" sz="3600" b="1" dirty="0" smtClean="0">
                <a:solidFill>
                  <a:schemeClr val="accent6"/>
                </a:solidFill>
              </a:rPr>
              <a:t> </a:t>
            </a:r>
            <a:r>
              <a:rPr lang="de-DE" sz="3600" b="1" dirty="0" err="1" smtClean="0">
                <a:solidFill>
                  <a:schemeClr val="accent6"/>
                </a:solidFill>
              </a:rPr>
              <a:t>and</a:t>
            </a:r>
            <a:r>
              <a:rPr lang="de-DE" sz="3600" b="1" dirty="0" smtClean="0">
                <a:solidFill>
                  <a:schemeClr val="accent6"/>
                </a:solidFill>
              </a:rPr>
              <a:t> </a:t>
            </a:r>
            <a:r>
              <a:rPr lang="de-DE" sz="3600" b="1" dirty="0" err="1" smtClean="0">
                <a:solidFill>
                  <a:schemeClr val="accent6"/>
                </a:solidFill>
              </a:rPr>
              <a:t>align</a:t>
            </a:r>
            <a:r>
              <a:rPr lang="de-DE" sz="3600" b="1" dirty="0" smtClean="0">
                <a:solidFill>
                  <a:schemeClr val="accent6"/>
                </a:solidFill>
              </a:rPr>
              <a:t> </a:t>
            </a:r>
            <a:r>
              <a:rPr lang="de-DE" sz="3600" b="1" dirty="0" err="1" smtClean="0">
                <a:solidFill>
                  <a:schemeClr val="accent6"/>
                </a:solidFill>
              </a:rPr>
              <a:t>strategies</a:t>
            </a:r>
            <a:endParaRPr lang="de-DE" sz="3600" b="1" dirty="0" smtClean="0">
              <a:solidFill>
                <a:schemeClr val="accent6"/>
              </a:solidFill>
            </a:endParaRPr>
          </a:p>
          <a:p>
            <a:endParaRPr lang="de-DE" sz="3600" dirty="0" smtClean="0"/>
          </a:p>
        </p:txBody>
      </p:sp>
      <p:sp>
        <p:nvSpPr>
          <p:cNvPr id="16" name="Rechteck 15"/>
          <p:cNvSpPr/>
          <p:nvPr/>
        </p:nvSpPr>
        <p:spPr>
          <a:xfrm rot="16200000" flipH="1">
            <a:off x="2078255" y="3919824"/>
            <a:ext cx="1980758"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18" name="Rechteck 17"/>
          <p:cNvSpPr/>
          <p:nvPr/>
        </p:nvSpPr>
        <p:spPr>
          <a:xfrm rot="16200000" flipH="1">
            <a:off x="4552945" y="3919824"/>
            <a:ext cx="1980758"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20" name="Rechteck 19"/>
          <p:cNvSpPr/>
          <p:nvPr/>
        </p:nvSpPr>
        <p:spPr>
          <a:xfrm rot="16200000" flipH="1">
            <a:off x="7101345" y="3919824"/>
            <a:ext cx="1980758"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5" name="Ellipse 8"/>
          <p:cNvSpPr/>
          <p:nvPr/>
        </p:nvSpPr>
        <p:spPr>
          <a:xfrm>
            <a:off x="1215026" y="3817570"/>
            <a:ext cx="7139836" cy="629433"/>
          </a:xfrm>
          <a:custGeom>
            <a:avLst/>
            <a:gdLst>
              <a:gd name="connsiteX0" fmla="*/ 0 w 7139835"/>
              <a:gd name="connsiteY0" fmla="*/ 629433 h 1258865"/>
              <a:gd name="connsiteX1" fmla="*/ 3569918 w 7139835"/>
              <a:gd name="connsiteY1" fmla="*/ 0 h 1258865"/>
              <a:gd name="connsiteX2" fmla="*/ 7139836 w 7139835"/>
              <a:gd name="connsiteY2" fmla="*/ 629433 h 1258865"/>
              <a:gd name="connsiteX3" fmla="*/ 3569918 w 7139835"/>
              <a:gd name="connsiteY3" fmla="*/ 1258866 h 1258865"/>
              <a:gd name="connsiteX4" fmla="*/ 0 w 7139835"/>
              <a:gd name="connsiteY4" fmla="*/ 629433 h 1258865"/>
              <a:gd name="connsiteX0" fmla="*/ 3569918 w 7139836"/>
              <a:gd name="connsiteY0" fmla="*/ 0 h 1258866"/>
              <a:gd name="connsiteX1" fmla="*/ 7139836 w 7139836"/>
              <a:gd name="connsiteY1" fmla="*/ 629433 h 1258866"/>
              <a:gd name="connsiteX2" fmla="*/ 3569918 w 7139836"/>
              <a:gd name="connsiteY2" fmla="*/ 1258866 h 1258866"/>
              <a:gd name="connsiteX3" fmla="*/ 0 w 7139836"/>
              <a:gd name="connsiteY3" fmla="*/ 629433 h 1258866"/>
              <a:gd name="connsiteX4" fmla="*/ 3661358 w 7139836"/>
              <a:gd name="connsiteY4" fmla="*/ 91440 h 1258866"/>
              <a:gd name="connsiteX0" fmla="*/ 3569918 w 7139836"/>
              <a:gd name="connsiteY0" fmla="*/ 0 h 1258866"/>
              <a:gd name="connsiteX1" fmla="*/ 7139836 w 7139836"/>
              <a:gd name="connsiteY1" fmla="*/ 629433 h 1258866"/>
              <a:gd name="connsiteX2" fmla="*/ 3569918 w 7139836"/>
              <a:gd name="connsiteY2" fmla="*/ 1258866 h 1258866"/>
              <a:gd name="connsiteX3" fmla="*/ 0 w 7139836"/>
              <a:gd name="connsiteY3" fmla="*/ 629433 h 1258866"/>
              <a:gd name="connsiteX0" fmla="*/ 7139836 w 7139836"/>
              <a:gd name="connsiteY0" fmla="*/ 0 h 629433"/>
              <a:gd name="connsiteX1" fmla="*/ 3569918 w 7139836"/>
              <a:gd name="connsiteY1" fmla="*/ 629433 h 629433"/>
              <a:gd name="connsiteX2" fmla="*/ 0 w 7139836"/>
              <a:gd name="connsiteY2" fmla="*/ 0 h 629433"/>
            </a:gdLst>
            <a:ahLst/>
            <a:cxnLst>
              <a:cxn ang="0">
                <a:pos x="connsiteX0" y="connsiteY0"/>
              </a:cxn>
              <a:cxn ang="0">
                <a:pos x="connsiteX1" y="connsiteY1"/>
              </a:cxn>
              <a:cxn ang="0">
                <a:pos x="connsiteX2" y="connsiteY2"/>
              </a:cxn>
            </a:cxnLst>
            <a:rect l="l" t="t" r="r" b="b"/>
            <a:pathLst>
              <a:path w="7139836" h="629433">
                <a:moveTo>
                  <a:pt x="7139836" y="0"/>
                </a:moveTo>
                <a:cubicBezTo>
                  <a:pt x="7139836" y="347626"/>
                  <a:pt x="5541529" y="629433"/>
                  <a:pt x="3569918" y="629433"/>
                </a:cubicBezTo>
                <a:cubicBezTo>
                  <a:pt x="1598307" y="629433"/>
                  <a:pt x="0" y="347626"/>
                  <a:pt x="0" y="0"/>
                </a:cubicBezTo>
              </a:path>
            </a:pathLst>
          </a:custGeom>
          <a:noFill/>
          <a:ln w="76200">
            <a:solidFill>
              <a:schemeClr val="accent4"/>
            </a:solidFill>
          </a:ln>
          <a:effectLst>
            <a:outerShdw blurRad="2159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Tree>
    <p:extLst>
      <p:ext uri="{BB962C8B-B14F-4D97-AF65-F5344CB8AC3E}">
        <p14:creationId xmlns:p14="http://schemas.microsoft.com/office/powerpoint/2010/main" val="1677841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withEffect">
                                  <p:stCondLst>
                                    <p:cond delay="0"/>
                                  </p:stCondLst>
                                  <p:childTnLst>
                                    <p:animMotion origin="layout" path="M -1.02564E-6 2.59259E-6 L 0.15481 2.59259E-6 " pathEditMode="relative" rAng="0" ptsTypes="AA">
                                      <p:cBhvr>
                                        <p:cTn id="6" dur="2000" fill="hold"/>
                                        <p:tgtEl>
                                          <p:spTgt spid="14"/>
                                        </p:tgtEl>
                                        <p:attrNameLst>
                                          <p:attrName>ppt_x</p:attrName>
                                          <p:attrName>ppt_y</p:attrName>
                                        </p:attrNameLst>
                                      </p:cBhvr>
                                      <p:rCtr x="7740" y="0"/>
                                    </p:animMotion>
                                  </p:childTnLst>
                                </p:cTn>
                              </p:par>
                              <p:par>
                                <p:cTn id="7" presetID="42" presetClass="path" presetSubtype="0" accel="50000" decel="50000" fill="hold" grpId="0" nodeType="withEffect">
                                  <p:stCondLst>
                                    <p:cond delay="0"/>
                                  </p:stCondLst>
                                  <p:childTnLst>
                                    <p:animMotion origin="layout" path="M -2.5641E-7 2.59259E-6 L 0.12115 2.59259E-6 " pathEditMode="relative" rAng="0" ptsTypes="AA">
                                      <p:cBhvr>
                                        <p:cTn id="8" dur="2000" fill="hold"/>
                                        <p:tgtEl>
                                          <p:spTgt spid="15"/>
                                        </p:tgtEl>
                                        <p:attrNameLst>
                                          <p:attrName>ppt_x</p:attrName>
                                          <p:attrName>ppt_y</p:attrName>
                                        </p:attrNameLst>
                                      </p:cBhvr>
                                      <p:rCtr x="6058" y="0"/>
                                    </p:animMotion>
                                  </p:childTnLst>
                                </p:cTn>
                              </p:par>
                              <p:par>
                                <p:cTn id="9" presetID="42" presetClass="path" presetSubtype="0" accel="50000" decel="50000" fill="hold" grpId="0" nodeType="withEffect">
                                  <p:stCondLst>
                                    <p:cond delay="0"/>
                                  </p:stCondLst>
                                  <p:childTnLst>
                                    <p:animMotion origin="layout" path="M 1.28205E-6 1.48148E-6 L 0.08173 1.48148E-6 " pathEditMode="relative" rAng="0" ptsTypes="AA">
                                      <p:cBhvr>
                                        <p:cTn id="10" dur="2000" fill="hold"/>
                                        <p:tgtEl>
                                          <p:spTgt spid="16"/>
                                        </p:tgtEl>
                                        <p:attrNameLst>
                                          <p:attrName>ppt_x</p:attrName>
                                          <p:attrName>ppt_y</p:attrName>
                                        </p:attrNameLst>
                                      </p:cBhvr>
                                      <p:rCtr x="4087" y="0"/>
                                    </p:animMotion>
                                  </p:childTnLst>
                                </p:cTn>
                              </p:par>
                              <p:par>
                                <p:cTn id="11" presetID="42" presetClass="path" presetSubtype="0" accel="50000" decel="50000" fill="hold" grpId="0" nodeType="withEffect">
                                  <p:stCondLst>
                                    <p:cond delay="0"/>
                                  </p:stCondLst>
                                  <p:childTnLst>
                                    <p:animMotion origin="layout" path="M -7.69231E-7 2.59259E-6 L 0.03558 2.59259E-6 " pathEditMode="relative" rAng="0" ptsTypes="AA">
                                      <p:cBhvr>
                                        <p:cTn id="12" dur="2000" fill="hold"/>
                                        <p:tgtEl>
                                          <p:spTgt spid="17"/>
                                        </p:tgtEl>
                                        <p:attrNameLst>
                                          <p:attrName>ppt_x</p:attrName>
                                          <p:attrName>ppt_y</p:attrName>
                                        </p:attrNameLst>
                                      </p:cBhvr>
                                      <p:rCtr x="1779" y="0"/>
                                    </p:animMotion>
                                  </p:childTnLst>
                                </p:cTn>
                              </p:par>
                              <p:par>
                                <p:cTn id="13" presetID="42" presetClass="path" presetSubtype="0" accel="50000" decel="50000" fill="hold" grpId="0" nodeType="withEffect">
                                  <p:stCondLst>
                                    <p:cond delay="0"/>
                                  </p:stCondLst>
                                  <p:childTnLst>
                                    <p:animMotion origin="layout" path="M 4.61538E-6 2.59259E-6 L -0.03462 2.59259E-6 " pathEditMode="relative" rAng="0" ptsTypes="AA">
                                      <p:cBhvr>
                                        <p:cTn id="14" dur="2000" fill="hold"/>
                                        <p:tgtEl>
                                          <p:spTgt spid="18"/>
                                        </p:tgtEl>
                                        <p:attrNameLst>
                                          <p:attrName>ppt_x</p:attrName>
                                          <p:attrName>ppt_y</p:attrName>
                                        </p:attrNameLst>
                                      </p:cBhvr>
                                      <p:rCtr x="-1731" y="0"/>
                                    </p:animMotion>
                                  </p:childTnLst>
                                </p:cTn>
                              </p:par>
                              <p:par>
                                <p:cTn id="15" presetID="42" presetClass="path" presetSubtype="0" accel="50000" decel="50000" fill="hold" grpId="0" nodeType="withEffect">
                                  <p:stCondLst>
                                    <p:cond delay="0"/>
                                  </p:stCondLst>
                                  <p:childTnLst>
                                    <p:animMotion origin="layout" path="M 3.07692E-6 2.59259E-6 L -0.07885 2.59259E-6 " pathEditMode="relative" rAng="0" ptsTypes="AA">
                                      <p:cBhvr>
                                        <p:cTn id="16" dur="2000" fill="hold"/>
                                        <p:tgtEl>
                                          <p:spTgt spid="19"/>
                                        </p:tgtEl>
                                        <p:attrNameLst>
                                          <p:attrName>ppt_x</p:attrName>
                                          <p:attrName>ppt_y</p:attrName>
                                        </p:attrNameLst>
                                      </p:cBhvr>
                                      <p:rCtr x="-3942" y="0"/>
                                    </p:animMotion>
                                  </p:childTnLst>
                                </p:cTn>
                              </p:par>
                              <p:par>
                                <p:cTn id="17" presetID="42" presetClass="path" presetSubtype="0" accel="50000" decel="50000" fill="hold" grpId="0" nodeType="withEffect">
                                  <p:stCondLst>
                                    <p:cond delay="0"/>
                                  </p:stCondLst>
                                  <p:childTnLst>
                                    <p:animMotion origin="layout" path="M -3.07692E-6 2.59259E-6 L -0.1 2.59259E-6 " pathEditMode="relative" rAng="0" ptsTypes="AA">
                                      <p:cBhvr>
                                        <p:cTn id="18" dur="1800" fill="hold"/>
                                        <p:tgtEl>
                                          <p:spTgt spid="20"/>
                                        </p:tgtEl>
                                        <p:attrNameLst>
                                          <p:attrName>ppt_x</p:attrName>
                                          <p:attrName>ppt_y</p:attrName>
                                        </p:attrNameLst>
                                      </p:cBhvr>
                                      <p:rCtr x="-5000" y="0"/>
                                    </p:animMotion>
                                  </p:childTnLst>
                                </p:cTn>
                              </p:par>
                              <p:par>
                                <p:cTn id="19" presetID="42" presetClass="path" presetSubtype="0" accel="50000" decel="50000" fill="hold" grpId="0" nodeType="withEffect">
                                  <p:stCondLst>
                                    <p:cond delay="0"/>
                                  </p:stCondLst>
                                  <p:childTnLst>
                                    <p:animMotion origin="layout" path="M 3.07692E-6 4.81481E-6 L -0.15 4.81481E-6 " pathEditMode="relative" rAng="0" ptsTypes="AA">
                                      <p:cBhvr>
                                        <p:cTn id="20" dur="1600" fill="hold"/>
                                        <p:tgtEl>
                                          <p:spTgt spid="21"/>
                                        </p:tgtEl>
                                        <p:attrNameLst>
                                          <p:attrName>ppt_x</p:attrName>
                                          <p:attrName>ppt_y</p:attrName>
                                        </p:attrNameLst>
                                      </p:cBhvr>
                                      <p:rCtr x="-7500" y="0"/>
                                    </p:animMotion>
                                  </p:childTnLst>
                                </p:cTn>
                              </p:par>
                              <p:par>
                                <p:cTn id="21" presetID="8" presetClass="emph" presetSubtype="0" fill="hold" grpId="1" nodeType="withEffect">
                                  <p:stCondLst>
                                    <p:cond delay="0"/>
                                  </p:stCondLst>
                                  <p:childTnLst>
                                    <p:animRot by="600000">
                                      <p:cBhvr>
                                        <p:cTn id="22" dur="2000" fill="hold"/>
                                        <p:tgtEl>
                                          <p:spTgt spid="14"/>
                                        </p:tgtEl>
                                        <p:attrNameLst>
                                          <p:attrName>r</p:attrName>
                                        </p:attrNameLst>
                                      </p:cBhvr>
                                    </p:animRot>
                                  </p:childTnLst>
                                </p:cTn>
                              </p:par>
                              <p:par>
                                <p:cTn id="23" presetID="8" presetClass="emph" presetSubtype="0" fill="hold" grpId="1" nodeType="withEffect">
                                  <p:stCondLst>
                                    <p:cond delay="0"/>
                                  </p:stCondLst>
                                  <p:childTnLst>
                                    <p:animRot by="-600000">
                                      <p:cBhvr>
                                        <p:cTn id="24" dur="1500" fill="hold"/>
                                        <p:tgtEl>
                                          <p:spTgt spid="21"/>
                                        </p:tgtEl>
                                        <p:attrNameLst>
                                          <p:attrName>r</p:attrName>
                                        </p:attrNameLst>
                                      </p:cBhvr>
                                    </p:animRot>
                                  </p:childTnLst>
                                </p:cTn>
                              </p:par>
                              <p:par>
                                <p:cTn id="25" presetID="21" presetClass="entr" presetSubtype="1" fill="hold" grpId="0" nodeType="withEffect">
                                  <p:stCondLst>
                                    <p:cond delay="700"/>
                                  </p:stCondLst>
                                  <p:childTnLst>
                                    <p:set>
                                      <p:cBhvr>
                                        <p:cTn id="26" dur="1" fill="hold">
                                          <p:stCondLst>
                                            <p:cond delay="0"/>
                                          </p:stCondLst>
                                        </p:cTn>
                                        <p:tgtEl>
                                          <p:spTgt spid="5"/>
                                        </p:tgtEl>
                                        <p:attrNameLst>
                                          <p:attrName>style.visibility</p:attrName>
                                        </p:attrNameLst>
                                      </p:cBhvr>
                                      <p:to>
                                        <p:strVal val="visible"/>
                                      </p:to>
                                    </p:set>
                                    <p:animEffect transition="in" filter="wheel(1)">
                                      <p:cBhvr>
                                        <p:cTn id="27" dur="2000"/>
                                        <p:tgtEl>
                                          <p:spTgt spid="5"/>
                                        </p:tgtEl>
                                      </p:cBhvr>
                                    </p:animEffect>
                                  </p:childTnLst>
                                </p:cTn>
                              </p:par>
                              <p:par>
                                <p:cTn id="28" presetID="21" presetClass="entr" presetSubtype="1" fill="hold" grpId="0" nodeType="withEffect">
                                  <p:stCondLst>
                                    <p:cond delay="700"/>
                                  </p:stCondLst>
                                  <p:childTnLst>
                                    <p:set>
                                      <p:cBhvr>
                                        <p:cTn id="29" dur="1" fill="hold">
                                          <p:stCondLst>
                                            <p:cond delay="0"/>
                                          </p:stCondLst>
                                        </p:cTn>
                                        <p:tgtEl>
                                          <p:spTgt spid="4"/>
                                        </p:tgtEl>
                                        <p:attrNameLst>
                                          <p:attrName>style.visibility</p:attrName>
                                        </p:attrNameLst>
                                      </p:cBhvr>
                                      <p:to>
                                        <p:strVal val="visible"/>
                                      </p:to>
                                    </p:set>
                                    <p:animEffect transition="in" filter="wheel(1)">
                                      <p:cBhvr>
                                        <p:cTn id="30" dur="2000"/>
                                        <p:tgtEl>
                                          <p:spTgt spid="4"/>
                                        </p:tgtEl>
                                      </p:cBhvr>
                                    </p:animEffect>
                                  </p:childTnLst>
                                </p:cTn>
                              </p:par>
                              <p:par>
                                <p:cTn id="31" presetID="8" presetClass="emph" presetSubtype="0" fill="hold" grpId="1" nodeType="withEffect">
                                  <p:stCondLst>
                                    <p:cond delay="0"/>
                                  </p:stCondLst>
                                  <p:childTnLst>
                                    <p:animRot by="300000">
                                      <p:cBhvr>
                                        <p:cTn id="32" dur="2000" fill="hold"/>
                                        <p:tgtEl>
                                          <p:spTgt spid="15"/>
                                        </p:tgtEl>
                                        <p:attrNameLst>
                                          <p:attrName>r</p:attrName>
                                        </p:attrNameLst>
                                      </p:cBhvr>
                                    </p:animRot>
                                  </p:childTnLst>
                                </p:cTn>
                              </p:par>
                              <p:par>
                                <p:cTn id="33" presetID="8" presetClass="emph" presetSubtype="0" fill="hold" grpId="1" nodeType="withEffect">
                                  <p:stCondLst>
                                    <p:cond delay="0"/>
                                  </p:stCondLst>
                                  <p:childTnLst>
                                    <p:animRot by="-300000">
                                      <p:cBhvr>
                                        <p:cTn id="34" dur="2000" fill="hold"/>
                                        <p:tgtEl>
                                          <p:spTgt spid="2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4" grpId="0" animBg="1"/>
      <p:bldP spid="14" grpId="1" animBg="1"/>
      <p:bldP spid="15" grpId="0" animBg="1"/>
      <p:bldP spid="15" grpId="1" animBg="1"/>
      <p:bldP spid="17" grpId="0" animBg="1"/>
      <p:bldP spid="19" grpId="0" animBg="1"/>
      <p:bldP spid="21" grpId="0" animBg="1"/>
      <p:bldP spid="21" grpId="1" animBg="1"/>
      <p:bldP spid="16" grpId="0" animBg="1"/>
      <p:bldP spid="18" grpId="0" animBg="1"/>
      <p:bldP spid="20" grpId="0" animBg="1"/>
      <p:bldP spid="20" grpId="1" animBg="1"/>
      <p:bldP spid="5"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llipse 7"/>
          <p:cNvSpPr/>
          <p:nvPr/>
        </p:nvSpPr>
        <p:spPr>
          <a:xfrm>
            <a:off x="1215025" y="3191298"/>
            <a:ext cx="7139835" cy="1258865"/>
          </a:xfrm>
          <a:prstGeom prst="ellipse">
            <a:avLst/>
          </a:prstGeom>
          <a:no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 name="Foliennummernplatzhalter 1"/>
          <p:cNvSpPr>
            <a:spLocks noGrp="1"/>
          </p:cNvSpPr>
          <p:nvPr>
            <p:ph type="sldNum" sz="quarter" idx="12"/>
          </p:nvPr>
        </p:nvSpPr>
        <p:spPr/>
        <p:txBody>
          <a:bodyPr/>
          <a:lstStyle/>
          <a:p>
            <a:fld id="{4AD1E780-DE1C-4ECA-B5E5-863D0BC53287}" type="slidenum">
              <a:rPr lang="de-DE" smtClean="0"/>
              <a:pPr/>
              <a:t>50</a:t>
            </a:fld>
            <a:endParaRPr lang="de-DE" dirty="0"/>
          </a:p>
        </p:txBody>
      </p:sp>
      <p:sp>
        <p:nvSpPr>
          <p:cNvPr id="3" name="Textplatzhalter 2"/>
          <p:cNvSpPr>
            <a:spLocks noGrp="1"/>
          </p:cNvSpPr>
          <p:nvPr>
            <p:ph type="body" sz="quarter" idx="13"/>
          </p:nvPr>
        </p:nvSpPr>
        <p:spPr>
          <a:xfrm>
            <a:off x="337854" y="284232"/>
            <a:ext cx="9403012" cy="697671"/>
          </a:xfrm>
        </p:spPr>
        <p:txBody>
          <a:bodyPr/>
          <a:lstStyle/>
          <a:p>
            <a:r>
              <a:rPr lang="de-DE" sz="3600" b="1" dirty="0" smtClean="0">
                <a:solidFill>
                  <a:schemeClr val="accent6"/>
                </a:solidFill>
              </a:rPr>
              <a:t>The global Open Access 2020 Initiative</a:t>
            </a:r>
            <a:endParaRPr lang="de-DE" sz="3600" b="1" dirty="0">
              <a:solidFill>
                <a:schemeClr val="accent6"/>
              </a:solidFill>
            </a:endParaRPr>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5025" y="1196840"/>
            <a:ext cx="7419678" cy="5120212"/>
          </a:xfrm>
          <a:prstGeom prst="rect">
            <a:avLst/>
          </a:prstGeom>
        </p:spPr>
      </p:pic>
      <p:sp>
        <p:nvSpPr>
          <p:cNvPr id="9" name="Ellipse 8"/>
          <p:cNvSpPr/>
          <p:nvPr/>
        </p:nvSpPr>
        <p:spPr>
          <a:xfrm>
            <a:off x="1215026" y="3820732"/>
            <a:ext cx="7139836" cy="629433"/>
          </a:xfrm>
          <a:custGeom>
            <a:avLst/>
            <a:gdLst>
              <a:gd name="connsiteX0" fmla="*/ 0 w 7139835"/>
              <a:gd name="connsiteY0" fmla="*/ 629433 h 1258865"/>
              <a:gd name="connsiteX1" fmla="*/ 3569918 w 7139835"/>
              <a:gd name="connsiteY1" fmla="*/ 0 h 1258865"/>
              <a:gd name="connsiteX2" fmla="*/ 7139836 w 7139835"/>
              <a:gd name="connsiteY2" fmla="*/ 629433 h 1258865"/>
              <a:gd name="connsiteX3" fmla="*/ 3569918 w 7139835"/>
              <a:gd name="connsiteY3" fmla="*/ 1258866 h 1258865"/>
              <a:gd name="connsiteX4" fmla="*/ 0 w 7139835"/>
              <a:gd name="connsiteY4" fmla="*/ 629433 h 1258865"/>
              <a:gd name="connsiteX0" fmla="*/ 3569918 w 7139836"/>
              <a:gd name="connsiteY0" fmla="*/ 0 h 1258866"/>
              <a:gd name="connsiteX1" fmla="*/ 7139836 w 7139836"/>
              <a:gd name="connsiteY1" fmla="*/ 629433 h 1258866"/>
              <a:gd name="connsiteX2" fmla="*/ 3569918 w 7139836"/>
              <a:gd name="connsiteY2" fmla="*/ 1258866 h 1258866"/>
              <a:gd name="connsiteX3" fmla="*/ 0 w 7139836"/>
              <a:gd name="connsiteY3" fmla="*/ 629433 h 1258866"/>
              <a:gd name="connsiteX4" fmla="*/ 3661358 w 7139836"/>
              <a:gd name="connsiteY4" fmla="*/ 91440 h 1258866"/>
              <a:gd name="connsiteX0" fmla="*/ 3569918 w 7139836"/>
              <a:gd name="connsiteY0" fmla="*/ 0 h 1258866"/>
              <a:gd name="connsiteX1" fmla="*/ 7139836 w 7139836"/>
              <a:gd name="connsiteY1" fmla="*/ 629433 h 1258866"/>
              <a:gd name="connsiteX2" fmla="*/ 3569918 w 7139836"/>
              <a:gd name="connsiteY2" fmla="*/ 1258866 h 1258866"/>
              <a:gd name="connsiteX3" fmla="*/ 0 w 7139836"/>
              <a:gd name="connsiteY3" fmla="*/ 629433 h 1258866"/>
              <a:gd name="connsiteX0" fmla="*/ 7139836 w 7139836"/>
              <a:gd name="connsiteY0" fmla="*/ 0 h 629433"/>
              <a:gd name="connsiteX1" fmla="*/ 3569918 w 7139836"/>
              <a:gd name="connsiteY1" fmla="*/ 629433 h 629433"/>
              <a:gd name="connsiteX2" fmla="*/ 0 w 7139836"/>
              <a:gd name="connsiteY2" fmla="*/ 0 h 629433"/>
            </a:gdLst>
            <a:ahLst/>
            <a:cxnLst>
              <a:cxn ang="0">
                <a:pos x="connsiteX0" y="connsiteY0"/>
              </a:cxn>
              <a:cxn ang="0">
                <a:pos x="connsiteX1" y="connsiteY1"/>
              </a:cxn>
              <a:cxn ang="0">
                <a:pos x="connsiteX2" y="connsiteY2"/>
              </a:cxn>
            </a:cxnLst>
            <a:rect l="l" t="t" r="r" b="b"/>
            <a:pathLst>
              <a:path w="7139836" h="629433">
                <a:moveTo>
                  <a:pt x="7139836" y="0"/>
                </a:moveTo>
                <a:cubicBezTo>
                  <a:pt x="7139836" y="347626"/>
                  <a:pt x="5541529" y="629433"/>
                  <a:pt x="3569918" y="629433"/>
                </a:cubicBezTo>
                <a:cubicBezTo>
                  <a:pt x="1598307" y="629433"/>
                  <a:pt x="0" y="347626"/>
                  <a:pt x="0" y="0"/>
                </a:cubicBezTo>
              </a:path>
            </a:pathLst>
          </a:custGeom>
          <a:noFill/>
          <a:ln w="76200">
            <a:solidFill>
              <a:schemeClr val="accent4"/>
            </a:solidFill>
          </a:ln>
          <a:effectLst>
            <a:outerShdw blurRad="2159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Tree>
    <p:extLst>
      <p:ext uri="{BB962C8B-B14F-4D97-AF65-F5344CB8AC3E}">
        <p14:creationId xmlns:p14="http://schemas.microsoft.com/office/powerpoint/2010/main" val="388427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ogen 3"/>
          <p:cNvSpPr/>
          <p:nvPr/>
        </p:nvSpPr>
        <p:spPr>
          <a:xfrm>
            <a:off x="-3748" y="2623464"/>
            <a:ext cx="9909748" cy="8469072"/>
          </a:xfrm>
          <a:prstGeom prst="arc">
            <a:avLst>
              <a:gd name="adj1" fmla="val 10796886"/>
              <a:gd name="adj2" fmla="val 0"/>
            </a:avLst>
          </a:prstGeom>
          <a:noFill/>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3" name="Rechteck 12"/>
          <p:cNvSpPr/>
          <p:nvPr/>
        </p:nvSpPr>
        <p:spPr>
          <a:xfrm>
            <a:off x="207878" y="5133252"/>
            <a:ext cx="246169" cy="3405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 name="Rechteck 11"/>
          <p:cNvSpPr/>
          <p:nvPr/>
        </p:nvSpPr>
        <p:spPr>
          <a:xfrm>
            <a:off x="8807447" y="4293669"/>
            <a:ext cx="323941" cy="1442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7" name="Picture 6"/>
          <p:cNvPicPr>
            <a:picLocks noChangeAspect="1"/>
          </p:cNvPicPr>
          <p:nvPr/>
        </p:nvPicPr>
        <p:blipFill>
          <a:blip r:embed="rId2">
            <a:clrChange>
              <a:clrFrom>
                <a:srgbClr val="FFFFFF"/>
              </a:clrFrom>
              <a:clrTo>
                <a:srgbClr val="FFFFFF">
                  <a:alpha val="0"/>
                </a:srgbClr>
              </a:clrTo>
            </a:clrChange>
          </a:blip>
          <a:stretch>
            <a:fillRect/>
          </a:stretch>
        </p:blipFill>
        <p:spPr>
          <a:xfrm>
            <a:off x="302341" y="4862135"/>
            <a:ext cx="1739908" cy="631359"/>
          </a:xfrm>
          <a:prstGeom prst="rect">
            <a:avLst/>
          </a:prstGeom>
          <a:noFill/>
        </p:spPr>
      </p:pic>
      <p:sp>
        <p:nvSpPr>
          <p:cNvPr id="3" name="Foliennummernplatzhalter 2"/>
          <p:cNvSpPr>
            <a:spLocks noGrp="1"/>
          </p:cNvSpPr>
          <p:nvPr>
            <p:ph type="sldNum" sz="quarter" idx="12"/>
          </p:nvPr>
        </p:nvSpPr>
        <p:spPr/>
        <p:txBody>
          <a:bodyPr/>
          <a:lstStyle/>
          <a:p>
            <a:fld id="{4AD1E780-DE1C-4ECA-B5E5-863D0BC53287}" type="slidenum">
              <a:rPr lang="de-DE" smtClean="0"/>
              <a:pPr/>
              <a:t>51</a:t>
            </a:fld>
            <a:endParaRPr lang="de-DE" dirty="0"/>
          </a:p>
        </p:txBody>
      </p:sp>
      <p:sp>
        <p:nvSpPr>
          <p:cNvPr id="5"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A global initiative </a:t>
            </a:r>
            <a:r>
              <a:rPr lang="de-DE" sz="3600" b="1" dirty="0" err="1" smtClean="0">
                <a:solidFill>
                  <a:schemeClr val="accent6"/>
                </a:solidFill>
              </a:rPr>
              <a:t>to</a:t>
            </a:r>
            <a:r>
              <a:rPr lang="de-DE" sz="3600" b="1" dirty="0" smtClean="0">
                <a:solidFill>
                  <a:schemeClr val="accent6"/>
                </a:solidFill>
              </a:rPr>
              <a:t> </a:t>
            </a:r>
            <a:r>
              <a:rPr lang="de-DE" sz="3600" b="1" dirty="0" err="1" smtClean="0">
                <a:solidFill>
                  <a:schemeClr val="accent6"/>
                </a:solidFill>
              </a:rPr>
              <a:t>meet</a:t>
            </a:r>
            <a:r>
              <a:rPr lang="de-DE" sz="3600" b="1" dirty="0" smtClean="0">
                <a:solidFill>
                  <a:schemeClr val="accent6"/>
                </a:solidFill>
              </a:rPr>
              <a:t> </a:t>
            </a:r>
            <a:r>
              <a:rPr lang="de-DE" sz="3600" b="1" dirty="0" err="1" smtClean="0">
                <a:solidFill>
                  <a:schemeClr val="accent6"/>
                </a:solidFill>
              </a:rPr>
              <a:t>publishers</a:t>
            </a:r>
            <a:endParaRPr lang="de-DE" sz="3600" b="1" dirty="0" smtClean="0">
              <a:solidFill>
                <a:schemeClr val="accent6"/>
              </a:solidFill>
            </a:endParaRPr>
          </a:p>
          <a:p>
            <a:r>
              <a:rPr lang="de-DE" sz="3600" b="1" dirty="0" smtClean="0">
                <a:solidFill>
                  <a:schemeClr val="accent6"/>
                </a:solidFill>
              </a:rPr>
              <a:t>at </a:t>
            </a:r>
            <a:r>
              <a:rPr lang="de-DE" sz="3600" b="1" dirty="0" err="1" smtClean="0">
                <a:solidFill>
                  <a:schemeClr val="accent6"/>
                </a:solidFill>
              </a:rPr>
              <a:t>eye</a:t>
            </a:r>
            <a:r>
              <a:rPr lang="de-DE" sz="3600" b="1" dirty="0" smtClean="0">
                <a:solidFill>
                  <a:schemeClr val="accent6"/>
                </a:solidFill>
              </a:rPr>
              <a:t> </a:t>
            </a:r>
            <a:r>
              <a:rPr lang="de-DE" sz="3600" b="1" dirty="0" err="1" smtClean="0">
                <a:solidFill>
                  <a:schemeClr val="accent6"/>
                </a:solidFill>
              </a:rPr>
              <a:t>level</a:t>
            </a:r>
            <a:endParaRPr lang="de-DE" sz="3600" dirty="0"/>
          </a:p>
        </p:txBody>
      </p:sp>
      <p:pic>
        <p:nvPicPr>
          <p:cNvPr id="8" name="Picture 2" descr="\\psf\Host\Volumes\Kerstin 2014-8 2TB\_form und glanz\Kunden\MPG_MPDL\41_Logo DEAL\Logo FINAL_150810\DEAL-hu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916" r="-3581"/>
          <a:stretch/>
        </p:blipFill>
        <p:spPr bwMode="auto">
          <a:xfrm>
            <a:off x="4250384" y="2186968"/>
            <a:ext cx="1557634" cy="521055"/>
          </a:xfrm>
          <a:prstGeom prst="rect">
            <a:avLst/>
          </a:prstGeom>
          <a:solidFill>
            <a:schemeClr val="bg1"/>
          </a:solidFill>
          <a:extLst/>
        </p:spPr>
      </p:pic>
      <p:pic>
        <p:nvPicPr>
          <p:cNvPr id="2" name="Picture 1"/>
          <p:cNvPicPr>
            <a:picLocks noChangeAspect="1"/>
          </p:cNvPicPr>
          <p:nvPr/>
        </p:nvPicPr>
        <p:blipFill>
          <a:blip r:embed="rId4"/>
          <a:stretch>
            <a:fillRect/>
          </a:stretch>
        </p:blipFill>
        <p:spPr>
          <a:xfrm>
            <a:off x="7210044" y="3202064"/>
            <a:ext cx="1038702" cy="451373"/>
          </a:xfrm>
          <a:prstGeom prst="rect">
            <a:avLst/>
          </a:prstGeom>
        </p:spPr>
      </p:pic>
      <p:pic>
        <p:nvPicPr>
          <p:cNvPr id="20" name="Picture 19"/>
          <p:cNvPicPr>
            <a:picLocks noChangeAspect="1"/>
          </p:cNvPicPr>
          <p:nvPr/>
        </p:nvPicPr>
        <p:blipFill>
          <a:blip r:embed="rId5"/>
          <a:stretch>
            <a:fillRect/>
          </a:stretch>
        </p:blipFill>
        <p:spPr>
          <a:xfrm>
            <a:off x="207878" y="6122486"/>
            <a:ext cx="1387863" cy="396532"/>
          </a:xfrm>
          <a:prstGeom prst="rect">
            <a:avLst/>
          </a:prstGeom>
        </p:spPr>
      </p:pic>
      <p:pic>
        <p:nvPicPr>
          <p:cNvPr id="21" name="Picture 10"/>
          <p:cNvPicPr>
            <a:picLocks noChangeAspect="1"/>
          </p:cNvPicPr>
          <p:nvPr/>
        </p:nvPicPr>
        <p:blipFill rotWithShape="1">
          <a:blip r:embed="rId6"/>
          <a:srcRect l="-5782" t="-8274"/>
          <a:stretch/>
        </p:blipFill>
        <p:spPr>
          <a:xfrm>
            <a:off x="2048555" y="2952962"/>
            <a:ext cx="839687" cy="949577"/>
          </a:xfrm>
          <a:prstGeom prst="rect">
            <a:avLst/>
          </a:prstGeom>
          <a:solidFill>
            <a:schemeClr val="bg1"/>
          </a:solidFill>
        </p:spPr>
      </p:pic>
      <p:pic>
        <p:nvPicPr>
          <p:cNvPr id="9" name="Picture 8"/>
          <p:cNvPicPr>
            <a:picLocks noChangeAspect="1"/>
          </p:cNvPicPr>
          <p:nvPr/>
        </p:nvPicPr>
        <p:blipFill>
          <a:blip r:embed="rId7"/>
          <a:stretch>
            <a:fillRect/>
          </a:stretch>
        </p:blipFill>
        <p:spPr>
          <a:xfrm>
            <a:off x="3247925" y="2485332"/>
            <a:ext cx="731292" cy="1158967"/>
          </a:xfrm>
          <a:prstGeom prst="rect">
            <a:avLst/>
          </a:prstGeom>
        </p:spPr>
      </p:pic>
      <p:pic>
        <p:nvPicPr>
          <p:cNvPr id="22" name="Picture 21"/>
          <p:cNvPicPr>
            <a:picLocks noChangeAspect="1"/>
          </p:cNvPicPr>
          <p:nvPr/>
        </p:nvPicPr>
        <p:blipFill>
          <a:blip r:embed="rId8"/>
          <a:stretch>
            <a:fillRect/>
          </a:stretch>
        </p:blipFill>
        <p:spPr>
          <a:xfrm>
            <a:off x="6222059" y="2590027"/>
            <a:ext cx="753146" cy="725869"/>
          </a:xfrm>
          <a:prstGeom prst="rect">
            <a:avLst/>
          </a:prstGeom>
        </p:spPr>
      </p:pic>
      <p:pic>
        <p:nvPicPr>
          <p:cNvPr id="23" name="Picture 22"/>
          <p:cNvPicPr>
            <a:picLocks noChangeAspect="1"/>
          </p:cNvPicPr>
          <p:nvPr/>
        </p:nvPicPr>
        <p:blipFill rotWithShape="1">
          <a:blip r:embed="rId9"/>
          <a:srcRect l="-3498"/>
          <a:stretch/>
        </p:blipFill>
        <p:spPr>
          <a:xfrm>
            <a:off x="677435" y="4022139"/>
            <a:ext cx="1866637" cy="543060"/>
          </a:xfrm>
          <a:prstGeom prst="rect">
            <a:avLst/>
          </a:prstGeom>
          <a:solidFill>
            <a:schemeClr val="bg1"/>
          </a:solidFill>
        </p:spPr>
      </p:pic>
      <p:pic>
        <p:nvPicPr>
          <p:cNvPr id="6" name="Picture 5"/>
          <p:cNvPicPr>
            <a:picLocks noChangeAspect="1"/>
          </p:cNvPicPr>
          <p:nvPr/>
        </p:nvPicPr>
        <p:blipFill>
          <a:blip r:embed="rId10">
            <a:clrChange>
              <a:clrFrom>
                <a:srgbClr val="FFFFFF"/>
              </a:clrFrom>
              <a:clrTo>
                <a:srgbClr val="FFFFFF">
                  <a:alpha val="0"/>
                </a:srgbClr>
              </a:clrTo>
            </a:clrChange>
          </a:blip>
          <a:stretch>
            <a:fillRect/>
          </a:stretch>
        </p:blipFill>
        <p:spPr>
          <a:xfrm>
            <a:off x="7471814" y="3902539"/>
            <a:ext cx="1760471" cy="535359"/>
          </a:xfrm>
          <a:prstGeom prst="rect">
            <a:avLst/>
          </a:prstGeom>
          <a:noFill/>
        </p:spPr>
      </p:pic>
      <p:pic>
        <p:nvPicPr>
          <p:cNvPr id="10" name="Picture 9"/>
          <p:cNvPicPr>
            <a:picLocks noChangeAspect="1"/>
          </p:cNvPicPr>
          <p:nvPr/>
        </p:nvPicPr>
        <p:blipFill>
          <a:blip r:embed="rId11"/>
          <a:stretch>
            <a:fillRect/>
          </a:stretch>
        </p:blipFill>
        <p:spPr>
          <a:xfrm>
            <a:off x="8807447" y="4533266"/>
            <a:ext cx="849679" cy="783859"/>
          </a:xfrm>
          <a:prstGeom prst="rect">
            <a:avLst/>
          </a:prstGeom>
        </p:spPr>
      </p:pic>
    </p:spTree>
    <p:extLst>
      <p:ext uri="{BB962C8B-B14F-4D97-AF65-F5344CB8AC3E}">
        <p14:creationId xmlns:p14="http://schemas.microsoft.com/office/powerpoint/2010/main" val="262729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hteck 64"/>
          <p:cNvSpPr/>
          <p:nvPr/>
        </p:nvSpPr>
        <p:spPr>
          <a:xfrm>
            <a:off x="7570976" y="6019293"/>
            <a:ext cx="1950294" cy="7407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nvGrpSpPr>
          <p:cNvPr id="55" name="Gruppieren 54"/>
          <p:cNvGrpSpPr/>
          <p:nvPr/>
        </p:nvGrpSpPr>
        <p:grpSpPr>
          <a:xfrm>
            <a:off x="291216" y="0"/>
            <a:ext cx="9906000" cy="7893685"/>
            <a:chOff x="0" y="-1034898"/>
            <a:chExt cx="9906000" cy="7893685"/>
          </a:xfrm>
        </p:grpSpPr>
        <p:cxnSp>
          <p:nvCxnSpPr>
            <p:cNvPr id="38" name="Gerade Verbindung 37"/>
            <p:cNvCxnSpPr/>
            <p:nvPr/>
          </p:nvCxnSpPr>
          <p:spPr>
            <a:xfrm flipH="1">
              <a:off x="0" y="1227726"/>
              <a:ext cx="9906000" cy="3110183"/>
            </a:xfrm>
            <a:prstGeom prst="lin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a:xfrm flipH="1">
              <a:off x="0" y="3366202"/>
              <a:ext cx="9906000" cy="971707"/>
            </a:xfrm>
            <a:prstGeom prst="lin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p:nvCxnSpPr>
          <p:spPr>
            <a:xfrm flipH="1" flipV="1">
              <a:off x="0" y="4337909"/>
              <a:ext cx="9906000" cy="1161280"/>
            </a:xfrm>
            <a:prstGeom prst="lin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7" name="Ellipse 16"/>
            <p:cNvSpPr/>
            <p:nvPr/>
          </p:nvSpPr>
          <p:spPr>
            <a:xfrm>
              <a:off x="5845853" y="619147"/>
              <a:ext cx="3576943" cy="5453343"/>
            </a:xfrm>
            <a:prstGeom prst="ellipse">
              <a:avLst/>
            </a:prstGeom>
            <a:noFill/>
            <a:ln w="2857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cxnSp>
          <p:nvCxnSpPr>
            <p:cNvPr id="19" name="Gerade Verbindung 18"/>
            <p:cNvCxnSpPr/>
            <p:nvPr/>
          </p:nvCxnSpPr>
          <p:spPr>
            <a:xfrm flipH="1">
              <a:off x="7633792" y="-353828"/>
              <a:ext cx="532" cy="7212615"/>
            </a:xfrm>
            <a:prstGeom prst="lin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flipH="1">
              <a:off x="6710427" y="-1"/>
              <a:ext cx="532" cy="6857981"/>
            </a:xfrm>
            <a:prstGeom prst="lin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a:xfrm>
              <a:off x="8508659" y="-1034898"/>
              <a:ext cx="0" cy="7892879"/>
            </a:xfrm>
            <a:prstGeom prst="lin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
        <p:nvSpPr>
          <p:cNvPr id="3" name="Textplatzhalter 2"/>
          <p:cNvSpPr>
            <a:spLocks noGrp="1"/>
          </p:cNvSpPr>
          <p:nvPr>
            <p:ph type="body" sz="quarter" idx="13"/>
          </p:nvPr>
        </p:nvSpPr>
        <p:spPr>
          <a:xfrm>
            <a:off x="302341" y="426280"/>
            <a:ext cx="8885499" cy="697671"/>
          </a:xfrm>
        </p:spPr>
        <p:txBody>
          <a:bodyPr anchor="t" anchorCtr="0"/>
          <a:lstStyle/>
          <a:p>
            <a:r>
              <a:rPr lang="de-DE" sz="3600" b="1" dirty="0" smtClean="0">
                <a:solidFill>
                  <a:schemeClr val="accent6"/>
                </a:solidFill>
              </a:rPr>
              <a:t>Libraries </a:t>
            </a:r>
            <a:r>
              <a:rPr lang="de-DE" sz="3600" b="1" dirty="0" err="1" smtClean="0">
                <a:solidFill>
                  <a:schemeClr val="accent6"/>
                </a:solidFill>
              </a:rPr>
              <a:t>are</a:t>
            </a:r>
            <a:r>
              <a:rPr lang="de-DE" sz="3600" b="1" dirty="0" smtClean="0">
                <a:solidFill>
                  <a:schemeClr val="accent6"/>
                </a:solidFill>
              </a:rPr>
              <a:t> </a:t>
            </a:r>
            <a:r>
              <a:rPr lang="de-DE" sz="3600" b="1" dirty="0" err="1" smtClean="0">
                <a:solidFill>
                  <a:schemeClr val="accent6"/>
                </a:solidFill>
              </a:rPr>
              <a:t>best</a:t>
            </a:r>
            <a:r>
              <a:rPr lang="de-DE" sz="3600" b="1" dirty="0" smtClean="0">
                <a:solidFill>
                  <a:schemeClr val="accent6"/>
                </a:solidFill>
              </a:rPr>
              <a:t> </a:t>
            </a:r>
            <a:r>
              <a:rPr lang="de-DE" sz="3600" b="1" dirty="0" err="1" smtClean="0">
                <a:solidFill>
                  <a:schemeClr val="accent6"/>
                </a:solidFill>
              </a:rPr>
              <a:t>positioned</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a:t>
            </a:r>
          </a:p>
          <a:p>
            <a:r>
              <a:rPr lang="de-DE" sz="3600" b="1" dirty="0" smtClean="0">
                <a:solidFill>
                  <a:schemeClr val="accent6"/>
                </a:solidFill>
              </a:rPr>
              <a:t>manage </a:t>
            </a:r>
            <a:r>
              <a:rPr lang="de-DE" sz="3600" b="1" dirty="0" err="1" smtClean="0">
                <a:solidFill>
                  <a:schemeClr val="accent6"/>
                </a:solidFill>
              </a:rPr>
              <a:t>the</a:t>
            </a:r>
            <a:r>
              <a:rPr lang="de-DE" sz="3600" b="1" dirty="0" smtClean="0">
                <a:solidFill>
                  <a:schemeClr val="accent6"/>
                </a:solidFill>
              </a:rPr>
              <a:t> </a:t>
            </a:r>
            <a:r>
              <a:rPr lang="de-DE" sz="3600" b="1" dirty="0" err="1" smtClean="0">
                <a:solidFill>
                  <a:schemeClr val="accent6"/>
                </a:solidFill>
              </a:rPr>
              <a:t>transition</a:t>
            </a:r>
            <a:endParaRPr lang="de-DE" sz="3600" b="1" dirty="0" smtClean="0">
              <a:solidFill>
                <a:schemeClr val="accent6"/>
              </a:solidFill>
            </a:endParaRPr>
          </a:p>
          <a:p>
            <a:endParaRPr lang="de-DE" sz="3600" dirty="0" smtClean="0"/>
          </a:p>
        </p:txBody>
      </p:sp>
      <p:grpSp>
        <p:nvGrpSpPr>
          <p:cNvPr id="54" name="Gruppieren 53"/>
          <p:cNvGrpSpPr/>
          <p:nvPr/>
        </p:nvGrpSpPr>
        <p:grpSpPr>
          <a:xfrm rot="21254182">
            <a:off x="321096" y="3753668"/>
            <a:ext cx="5486397" cy="2652084"/>
            <a:chOff x="359456" y="2149420"/>
            <a:chExt cx="5486397" cy="2652084"/>
          </a:xfrm>
        </p:grpSpPr>
        <p:grpSp>
          <p:nvGrpSpPr>
            <p:cNvPr id="46" name="Gruppieren 45"/>
            <p:cNvGrpSpPr/>
            <p:nvPr/>
          </p:nvGrpSpPr>
          <p:grpSpPr>
            <a:xfrm>
              <a:off x="359456" y="2940730"/>
              <a:ext cx="1240514" cy="1074260"/>
              <a:chOff x="2404298" y="3222782"/>
              <a:chExt cx="1240514" cy="1074260"/>
            </a:xfrm>
            <a:solidFill>
              <a:schemeClr val="accent4"/>
            </a:solidFill>
          </p:grpSpPr>
          <p:sp>
            <p:nvSpPr>
              <p:cNvPr id="43" name="Ellipse 42"/>
              <p:cNvSpPr/>
              <p:nvPr/>
            </p:nvSpPr>
            <p:spPr>
              <a:xfrm>
                <a:off x="2404298" y="3321894"/>
                <a:ext cx="437245" cy="87603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4" name="Trapezoid 43"/>
              <p:cNvSpPr/>
              <p:nvPr/>
            </p:nvSpPr>
            <p:spPr>
              <a:xfrm rot="16200000">
                <a:off x="2583341" y="3235570"/>
                <a:ext cx="1074260" cy="1048683"/>
              </a:xfrm>
              <a:prstGeom prst="trapezoid">
                <a:avLst>
                  <a:gd name="adj" fmla="val 975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pSp>
          <p:nvGrpSpPr>
            <p:cNvPr id="47" name="Gruppieren 46"/>
            <p:cNvGrpSpPr/>
            <p:nvPr/>
          </p:nvGrpSpPr>
          <p:grpSpPr>
            <a:xfrm>
              <a:off x="1190729" y="2617813"/>
              <a:ext cx="1943898" cy="1720096"/>
              <a:chOff x="2404298" y="3222783"/>
              <a:chExt cx="1240514" cy="1074260"/>
            </a:xfrm>
            <a:solidFill>
              <a:schemeClr val="accent4"/>
            </a:solidFill>
          </p:grpSpPr>
          <p:sp>
            <p:nvSpPr>
              <p:cNvPr id="48" name="Ellipse 47"/>
              <p:cNvSpPr/>
              <p:nvPr/>
            </p:nvSpPr>
            <p:spPr>
              <a:xfrm>
                <a:off x="2404298" y="3321894"/>
                <a:ext cx="437245" cy="876034"/>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9" name="Trapezoid 48"/>
              <p:cNvSpPr/>
              <p:nvPr/>
            </p:nvSpPr>
            <p:spPr>
              <a:xfrm rot="16200000">
                <a:off x="2583341" y="3235571"/>
                <a:ext cx="1074260" cy="1048683"/>
              </a:xfrm>
              <a:custGeom>
                <a:avLst/>
                <a:gdLst>
                  <a:gd name="connsiteX0" fmla="*/ 0 w 1720096"/>
                  <a:gd name="connsiteY0" fmla="*/ 1643297 h 1643297"/>
                  <a:gd name="connsiteX1" fmla="*/ 160320 w 1720096"/>
                  <a:gd name="connsiteY1" fmla="*/ 0 h 1643297"/>
                  <a:gd name="connsiteX2" fmla="*/ 1559776 w 1720096"/>
                  <a:gd name="connsiteY2" fmla="*/ 0 h 1643297"/>
                  <a:gd name="connsiteX3" fmla="*/ 1720096 w 1720096"/>
                  <a:gd name="connsiteY3" fmla="*/ 1643297 h 1643297"/>
                  <a:gd name="connsiteX4" fmla="*/ 0 w 1720096"/>
                  <a:gd name="connsiteY4" fmla="*/ 1643297 h 1643297"/>
                  <a:gd name="connsiteX0" fmla="*/ 0 w 1720096"/>
                  <a:gd name="connsiteY0" fmla="*/ 1702281 h 1702281"/>
                  <a:gd name="connsiteX1" fmla="*/ 160320 w 1720096"/>
                  <a:gd name="connsiteY1" fmla="*/ 58984 h 1702281"/>
                  <a:gd name="connsiteX2" fmla="*/ 891318 w 1720096"/>
                  <a:gd name="connsiteY2" fmla="*/ 0 h 1702281"/>
                  <a:gd name="connsiteX3" fmla="*/ 1559776 w 1720096"/>
                  <a:gd name="connsiteY3" fmla="*/ 58984 h 1702281"/>
                  <a:gd name="connsiteX4" fmla="*/ 1720096 w 1720096"/>
                  <a:gd name="connsiteY4" fmla="*/ 1702281 h 1702281"/>
                  <a:gd name="connsiteX5" fmla="*/ 0 w 1720096"/>
                  <a:gd name="connsiteY5" fmla="*/ 1702281 h 1702281"/>
                  <a:gd name="connsiteX0" fmla="*/ 891318 w 1720096"/>
                  <a:gd name="connsiteY0" fmla="*/ 0 h 1702281"/>
                  <a:gd name="connsiteX1" fmla="*/ 1559776 w 1720096"/>
                  <a:gd name="connsiteY1" fmla="*/ 58984 h 1702281"/>
                  <a:gd name="connsiteX2" fmla="*/ 1720096 w 1720096"/>
                  <a:gd name="connsiteY2" fmla="*/ 1702281 h 1702281"/>
                  <a:gd name="connsiteX3" fmla="*/ 0 w 1720096"/>
                  <a:gd name="connsiteY3" fmla="*/ 1702281 h 1702281"/>
                  <a:gd name="connsiteX4" fmla="*/ 160320 w 1720096"/>
                  <a:gd name="connsiteY4" fmla="*/ 58984 h 1702281"/>
                  <a:gd name="connsiteX5" fmla="*/ 982758 w 1720096"/>
                  <a:gd name="connsiteY5" fmla="*/ 91440 h 1702281"/>
                  <a:gd name="connsiteX0" fmla="*/ 891318 w 1720096"/>
                  <a:gd name="connsiteY0" fmla="*/ 0 h 1702281"/>
                  <a:gd name="connsiteX1" fmla="*/ 1559776 w 1720096"/>
                  <a:gd name="connsiteY1" fmla="*/ 58984 h 1702281"/>
                  <a:gd name="connsiteX2" fmla="*/ 1720096 w 1720096"/>
                  <a:gd name="connsiteY2" fmla="*/ 1702281 h 1702281"/>
                  <a:gd name="connsiteX3" fmla="*/ 0 w 1720096"/>
                  <a:gd name="connsiteY3" fmla="*/ 1702281 h 1702281"/>
                  <a:gd name="connsiteX4" fmla="*/ 160320 w 1720096"/>
                  <a:gd name="connsiteY4" fmla="*/ 58984 h 1702281"/>
                  <a:gd name="connsiteX0" fmla="*/ 1559776 w 1720096"/>
                  <a:gd name="connsiteY0" fmla="*/ 0 h 1643297"/>
                  <a:gd name="connsiteX1" fmla="*/ 1720096 w 1720096"/>
                  <a:gd name="connsiteY1" fmla="*/ 1643297 h 1643297"/>
                  <a:gd name="connsiteX2" fmla="*/ 0 w 1720096"/>
                  <a:gd name="connsiteY2" fmla="*/ 1643297 h 1643297"/>
                  <a:gd name="connsiteX3" fmla="*/ 160320 w 1720096"/>
                  <a:gd name="connsiteY3" fmla="*/ 0 h 1643297"/>
                </a:gdLst>
                <a:ahLst/>
                <a:cxnLst>
                  <a:cxn ang="0">
                    <a:pos x="connsiteX0" y="connsiteY0"/>
                  </a:cxn>
                  <a:cxn ang="0">
                    <a:pos x="connsiteX1" y="connsiteY1"/>
                  </a:cxn>
                  <a:cxn ang="0">
                    <a:pos x="connsiteX2" y="connsiteY2"/>
                  </a:cxn>
                  <a:cxn ang="0">
                    <a:pos x="connsiteX3" y="connsiteY3"/>
                  </a:cxn>
                </a:cxnLst>
                <a:rect l="l" t="t" r="r" b="b"/>
                <a:pathLst>
                  <a:path w="1720096" h="1643297">
                    <a:moveTo>
                      <a:pt x="1559776" y="0"/>
                    </a:moveTo>
                    <a:lnTo>
                      <a:pt x="1720096" y="1643297"/>
                    </a:lnTo>
                    <a:lnTo>
                      <a:pt x="0" y="1643297"/>
                    </a:lnTo>
                    <a:lnTo>
                      <a:pt x="160320" y="0"/>
                    </a:lnTo>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pSp>
          <p:nvGrpSpPr>
            <p:cNvPr id="50" name="Gruppieren 49"/>
            <p:cNvGrpSpPr/>
            <p:nvPr/>
          </p:nvGrpSpPr>
          <p:grpSpPr>
            <a:xfrm>
              <a:off x="2245803" y="2149420"/>
              <a:ext cx="3600050" cy="2652084"/>
              <a:chOff x="2404298" y="3201269"/>
              <a:chExt cx="1565941" cy="1115269"/>
            </a:xfrm>
            <a:solidFill>
              <a:schemeClr val="accent4"/>
            </a:solidFill>
          </p:grpSpPr>
          <p:sp>
            <p:nvSpPr>
              <p:cNvPr id="51" name="Ellipse 50"/>
              <p:cNvSpPr/>
              <p:nvPr/>
            </p:nvSpPr>
            <p:spPr>
              <a:xfrm>
                <a:off x="2404298" y="3321894"/>
                <a:ext cx="437245" cy="876034"/>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2" name="Trapezoid 51"/>
              <p:cNvSpPr/>
              <p:nvPr/>
            </p:nvSpPr>
            <p:spPr>
              <a:xfrm rot="16200000">
                <a:off x="2583341" y="3235570"/>
                <a:ext cx="1074260" cy="1048683"/>
              </a:xfrm>
              <a:custGeom>
                <a:avLst/>
                <a:gdLst>
                  <a:gd name="connsiteX0" fmla="*/ 0 w 2554566"/>
                  <a:gd name="connsiteY0" fmla="*/ 2410890 h 2410890"/>
                  <a:gd name="connsiteX1" fmla="*/ 235206 w 2554566"/>
                  <a:gd name="connsiteY1" fmla="*/ 0 h 2410890"/>
                  <a:gd name="connsiteX2" fmla="*/ 2319360 w 2554566"/>
                  <a:gd name="connsiteY2" fmla="*/ 0 h 2410890"/>
                  <a:gd name="connsiteX3" fmla="*/ 2554566 w 2554566"/>
                  <a:gd name="connsiteY3" fmla="*/ 2410890 h 2410890"/>
                  <a:gd name="connsiteX4" fmla="*/ 0 w 2554566"/>
                  <a:gd name="connsiteY4" fmla="*/ 2410890 h 2410890"/>
                  <a:gd name="connsiteX0" fmla="*/ 0 w 2554566"/>
                  <a:gd name="connsiteY0" fmla="*/ 2418452 h 2418452"/>
                  <a:gd name="connsiteX1" fmla="*/ 235206 w 2554566"/>
                  <a:gd name="connsiteY1" fmla="*/ 7562 h 2418452"/>
                  <a:gd name="connsiteX2" fmla="*/ 1334135 w 2554566"/>
                  <a:gd name="connsiteY2" fmla="*/ 0 h 2418452"/>
                  <a:gd name="connsiteX3" fmla="*/ 2319360 w 2554566"/>
                  <a:gd name="connsiteY3" fmla="*/ 7562 h 2418452"/>
                  <a:gd name="connsiteX4" fmla="*/ 2554566 w 2554566"/>
                  <a:gd name="connsiteY4" fmla="*/ 2418452 h 2418452"/>
                  <a:gd name="connsiteX5" fmla="*/ 0 w 2554566"/>
                  <a:gd name="connsiteY5" fmla="*/ 2418452 h 2418452"/>
                  <a:gd name="connsiteX0" fmla="*/ 1334135 w 2554566"/>
                  <a:gd name="connsiteY0" fmla="*/ 0 h 2418452"/>
                  <a:gd name="connsiteX1" fmla="*/ 2319360 w 2554566"/>
                  <a:gd name="connsiteY1" fmla="*/ 7562 h 2418452"/>
                  <a:gd name="connsiteX2" fmla="*/ 2554566 w 2554566"/>
                  <a:gd name="connsiteY2" fmla="*/ 2418452 h 2418452"/>
                  <a:gd name="connsiteX3" fmla="*/ 0 w 2554566"/>
                  <a:gd name="connsiteY3" fmla="*/ 2418452 h 2418452"/>
                  <a:gd name="connsiteX4" fmla="*/ 235206 w 2554566"/>
                  <a:gd name="connsiteY4" fmla="*/ 7562 h 2418452"/>
                  <a:gd name="connsiteX5" fmla="*/ 1425575 w 2554566"/>
                  <a:gd name="connsiteY5" fmla="*/ 91440 h 2418452"/>
                  <a:gd name="connsiteX0" fmla="*/ 1334135 w 2554566"/>
                  <a:gd name="connsiteY0" fmla="*/ 0 h 2418452"/>
                  <a:gd name="connsiteX1" fmla="*/ 2319360 w 2554566"/>
                  <a:gd name="connsiteY1" fmla="*/ 7562 h 2418452"/>
                  <a:gd name="connsiteX2" fmla="*/ 2554566 w 2554566"/>
                  <a:gd name="connsiteY2" fmla="*/ 2418452 h 2418452"/>
                  <a:gd name="connsiteX3" fmla="*/ 0 w 2554566"/>
                  <a:gd name="connsiteY3" fmla="*/ 2418452 h 2418452"/>
                  <a:gd name="connsiteX4" fmla="*/ 235206 w 2554566"/>
                  <a:gd name="connsiteY4" fmla="*/ 7562 h 2418452"/>
                  <a:gd name="connsiteX0" fmla="*/ 2319360 w 2554566"/>
                  <a:gd name="connsiteY0" fmla="*/ 0 h 2410890"/>
                  <a:gd name="connsiteX1" fmla="*/ 2554566 w 2554566"/>
                  <a:gd name="connsiteY1" fmla="*/ 2410890 h 2410890"/>
                  <a:gd name="connsiteX2" fmla="*/ 0 w 2554566"/>
                  <a:gd name="connsiteY2" fmla="*/ 2410890 h 2410890"/>
                  <a:gd name="connsiteX3" fmla="*/ 235206 w 2554566"/>
                  <a:gd name="connsiteY3" fmla="*/ 0 h 2410890"/>
                </a:gdLst>
                <a:ahLst/>
                <a:cxnLst>
                  <a:cxn ang="0">
                    <a:pos x="connsiteX0" y="connsiteY0"/>
                  </a:cxn>
                  <a:cxn ang="0">
                    <a:pos x="connsiteX1" y="connsiteY1"/>
                  </a:cxn>
                  <a:cxn ang="0">
                    <a:pos x="connsiteX2" y="connsiteY2"/>
                  </a:cxn>
                  <a:cxn ang="0">
                    <a:pos x="connsiteX3" y="connsiteY3"/>
                  </a:cxn>
                </a:cxnLst>
                <a:rect l="l" t="t" r="r" b="b"/>
                <a:pathLst>
                  <a:path w="2554566" h="2410890">
                    <a:moveTo>
                      <a:pt x="2319360" y="0"/>
                    </a:moveTo>
                    <a:lnTo>
                      <a:pt x="2554566" y="2410890"/>
                    </a:lnTo>
                    <a:lnTo>
                      <a:pt x="0" y="2410890"/>
                    </a:lnTo>
                    <a:lnTo>
                      <a:pt x="235206" y="0"/>
                    </a:lnTo>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3" name="Ellipse 52"/>
              <p:cNvSpPr/>
              <p:nvPr/>
            </p:nvSpPr>
            <p:spPr>
              <a:xfrm>
                <a:off x="3404001" y="3201269"/>
                <a:ext cx="566238" cy="111526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pSp>
      <p:pic>
        <p:nvPicPr>
          <p:cNvPr id="62" name="Grafik 6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8884" y="6108205"/>
            <a:ext cx="1371008" cy="636827"/>
          </a:xfrm>
          <a:prstGeom prst="rect">
            <a:avLst/>
          </a:prstGeom>
        </p:spPr>
      </p:pic>
      <p:sp>
        <p:nvSpPr>
          <p:cNvPr id="63" name="Foliennummernplatzhalter 4"/>
          <p:cNvSpPr txBox="1">
            <a:spLocks/>
          </p:cNvSpPr>
          <p:nvPr/>
        </p:nvSpPr>
        <p:spPr>
          <a:xfrm>
            <a:off x="8931442" y="6592861"/>
            <a:ext cx="773912" cy="167164"/>
          </a:xfrm>
          <a:prstGeom prst="rect">
            <a:avLst/>
          </a:prstGeom>
        </p:spPr>
        <p:txBody>
          <a:bodyPr vert="horz" wrap="none" lIns="0" tIns="0" rIns="0" bIns="0" rtlCol="0" anchor="b"/>
          <a:lstStyle>
            <a:defPPr>
              <a:defRPr lang="de-DE"/>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D1E780-DE1C-4ECA-B5E5-863D0BC53287}" type="slidenum">
              <a:rPr lang="de-DE" smtClean="0"/>
              <a:pPr/>
              <a:t>52</a:t>
            </a:fld>
            <a:endParaRPr lang="de-DE" dirty="0"/>
          </a:p>
        </p:txBody>
      </p:sp>
      <p:sp>
        <p:nvSpPr>
          <p:cNvPr id="64" name="Freihandform 63"/>
          <p:cNvSpPr/>
          <p:nvPr/>
        </p:nvSpPr>
        <p:spPr>
          <a:xfrm>
            <a:off x="7648884" y="5958738"/>
            <a:ext cx="2258125" cy="60555"/>
          </a:xfrm>
          <a:custGeom>
            <a:avLst/>
            <a:gdLst>
              <a:gd name="connsiteX0" fmla="*/ 0 w 2464641"/>
              <a:gd name="connsiteY0" fmla="*/ 835677 h 835677"/>
              <a:gd name="connsiteX1" fmla="*/ 0 w 2464641"/>
              <a:gd name="connsiteY1" fmla="*/ 0 h 835677"/>
              <a:gd name="connsiteX2" fmla="*/ 2464641 w 2464641"/>
              <a:gd name="connsiteY2" fmla="*/ 0 h 835677"/>
              <a:gd name="connsiteX0" fmla="*/ 0 w 2464641"/>
              <a:gd name="connsiteY0" fmla="*/ 0 h 0"/>
              <a:gd name="connsiteX1" fmla="*/ 2464641 w 2464641"/>
              <a:gd name="connsiteY1" fmla="*/ 0 h 0"/>
            </a:gdLst>
            <a:ahLst/>
            <a:cxnLst>
              <a:cxn ang="0">
                <a:pos x="connsiteX0" y="connsiteY0"/>
              </a:cxn>
              <a:cxn ang="0">
                <a:pos x="connsiteX1" y="connsiteY1"/>
              </a:cxn>
            </a:cxnLst>
            <a:rect l="l" t="t" r="r" b="b"/>
            <a:pathLst>
              <a:path w="2464641">
                <a:moveTo>
                  <a:pt x="0" y="0"/>
                </a:moveTo>
                <a:lnTo>
                  <a:pt x="2464641" y="0"/>
                </a:lnTo>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2234626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a:xfrm>
            <a:off x="587223" y="3202601"/>
            <a:ext cx="8645064" cy="2832129"/>
            <a:chOff x="587223" y="3202601"/>
            <a:chExt cx="8645064" cy="2832129"/>
          </a:xfrm>
        </p:grpSpPr>
        <p:grpSp>
          <p:nvGrpSpPr>
            <p:cNvPr id="56" name="Gruppieren 55"/>
            <p:cNvGrpSpPr/>
            <p:nvPr/>
          </p:nvGrpSpPr>
          <p:grpSpPr>
            <a:xfrm>
              <a:off x="4694860" y="5474604"/>
              <a:ext cx="400832" cy="558623"/>
              <a:chOff x="3306871" y="3281818"/>
              <a:chExt cx="1947797" cy="2599151"/>
            </a:xfrm>
          </p:grpSpPr>
          <p:sp>
            <p:nvSpPr>
              <p:cNvPr id="57" name="Rechteck 3"/>
              <p:cNvSpPr/>
              <p:nvPr/>
            </p:nvSpPr>
            <p:spPr>
              <a:xfrm>
                <a:off x="3306871" y="3281818"/>
                <a:ext cx="1947797" cy="2599151"/>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797" h="2599151">
                    <a:moveTo>
                      <a:pt x="0" y="6263"/>
                    </a:moveTo>
                    <a:lnTo>
                      <a:pt x="1415441" y="0"/>
                    </a:lnTo>
                    <a:lnTo>
                      <a:pt x="1947797" y="519831"/>
                    </a:lnTo>
                    <a:lnTo>
                      <a:pt x="1947797" y="2599151"/>
                    </a:lnTo>
                    <a:lnTo>
                      <a:pt x="0" y="2599151"/>
                    </a:lnTo>
                    <a:lnTo>
                      <a:pt x="0" y="6263"/>
                    </a:lnTo>
                    <a:close/>
                  </a:path>
                </a:pathLst>
              </a:custGeom>
              <a:solidFill>
                <a:schemeClr val="bg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8" name="Freihandform 57"/>
              <p:cNvSpPr/>
              <p:nvPr/>
            </p:nvSpPr>
            <p:spPr>
              <a:xfrm>
                <a:off x="4716049" y="3288082"/>
                <a:ext cx="532356" cy="519830"/>
              </a:xfrm>
              <a:custGeom>
                <a:avLst/>
                <a:gdLst>
                  <a:gd name="connsiteX0" fmla="*/ 0 w 532356"/>
                  <a:gd name="connsiteY0" fmla="*/ 0 h 457200"/>
                  <a:gd name="connsiteX1" fmla="*/ 0 w 532356"/>
                  <a:gd name="connsiteY1" fmla="*/ 457200 h 457200"/>
                  <a:gd name="connsiteX2" fmla="*/ 532356 w 532356"/>
                  <a:gd name="connsiteY2" fmla="*/ 457200 h 457200"/>
                </a:gdLst>
                <a:ahLst/>
                <a:cxnLst>
                  <a:cxn ang="0">
                    <a:pos x="connsiteX0" y="connsiteY0"/>
                  </a:cxn>
                  <a:cxn ang="0">
                    <a:pos x="connsiteX1" y="connsiteY1"/>
                  </a:cxn>
                  <a:cxn ang="0">
                    <a:pos x="connsiteX2" y="connsiteY2"/>
                  </a:cxn>
                </a:cxnLst>
                <a:rect l="l" t="t" r="r" b="b"/>
                <a:pathLst>
                  <a:path w="532356" h="457200">
                    <a:moveTo>
                      <a:pt x="0" y="0"/>
                    </a:moveTo>
                    <a:lnTo>
                      <a:pt x="0" y="457200"/>
                    </a:lnTo>
                    <a:lnTo>
                      <a:pt x="532356" y="45720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9" name="Gerade Verbindung 58"/>
              <p:cNvCxnSpPr/>
              <p:nvPr/>
            </p:nvCxnSpPr>
            <p:spPr>
              <a:xfrm>
                <a:off x="3707704" y="4402899"/>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p:nvCxnSpPr>
            <p:spPr>
              <a:xfrm>
                <a:off x="3707704" y="4831916"/>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p:nvCxnSpPr>
            <p:spPr>
              <a:xfrm>
                <a:off x="3707703" y="5260932"/>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 name="Gruppieren 5"/>
            <p:cNvGrpSpPr/>
            <p:nvPr/>
          </p:nvGrpSpPr>
          <p:grpSpPr>
            <a:xfrm>
              <a:off x="2258368" y="3240452"/>
              <a:ext cx="1159964" cy="733613"/>
              <a:chOff x="162838" y="3012510"/>
              <a:chExt cx="3663863" cy="2376816"/>
            </a:xfrm>
          </p:grpSpPr>
          <p:sp>
            <p:nvSpPr>
              <p:cNvPr id="7" name="Freihandform 6"/>
              <p:cNvSpPr/>
              <p:nvPr/>
            </p:nvSpPr>
            <p:spPr>
              <a:xfrm>
                <a:off x="162838" y="3012510"/>
                <a:ext cx="3613759" cy="2248422"/>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3759" h="2248422">
                    <a:moveTo>
                      <a:pt x="1471809" y="2248422"/>
                    </a:moveTo>
                    <a:lnTo>
                      <a:pt x="3613759" y="1665961"/>
                    </a:lnTo>
                    <a:lnTo>
                      <a:pt x="2317315" y="1240076"/>
                    </a:lnTo>
                    <a:lnTo>
                      <a:pt x="1885167" y="0"/>
                    </a:lnTo>
                    <a:lnTo>
                      <a:pt x="0" y="300624"/>
                    </a:lnTo>
                    <a:lnTo>
                      <a:pt x="419622" y="1709802"/>
                    </a:lnTo>
                    <a:lnTo>
                      <a:pt x="1471809" y="2248422"/>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 name="Freihandform 7"/>
              <p:cNvSpPr/>
              <p:nvPr/>
            </p:nvSpPr>
            <p:spPr>
              <a:xfrm>
                <a:off x="394570" y="3194137"/>
                <a:ext cx="1859945" cy="1265129"/>
              </a:xfrm>
              <a:custGeom>
                <a:avLst/>
                <a:gdLst>
                  <a:gd name="connsiteX0" fmla="*/ 1534438 w 1822537"/>
                  <a:gd name="connsiteY0" fmla="*/ 0 h 1265129"/>
                  <a:gd name="connsiteX1" fmla="*/ 0 w 1822537"/>
                  <a:gd name="connsiteY1" fmla="*/ 256784 h 1265129"/>
                  <a:gd name="connsiteX2" fmla="*/ 306888 w 1822537"/>
                  <a:gd name="connsiteY2" fmla="*/ 1265129 h 1265129"/>
                  <a:gd name="connsiteX3" fmla="*/ 1822537 w 1822537"/>
                  <a:gd name="connsiteY3" fmla="*/ 951978 h 1265129"/>
                  <a:gd name="connsiteX4" fmla="*/ 1534438 w 1822537"/>
                  <a:gd name="connsiteY4" fmla="*/ 0 h 1265129"/>
                  <a:gd name="connsiteX0" fmla="*/ 1534438 w 1843319"/>
                  <a:gd name="connsiteY0" fmla="*/ 0 h 1265129"/>
                  <a:gd name="connsiteX1" fmla="*/ 0 w 1843319"/>
                  <a:gd name="connsiteY1" fmla="*/ 256784 h 1265129"/>
                  <a:gd name="connsiteX2" fmla="*/ 306888 w 1843319"/>
                  <a:gd name="connsiteY2" fmla="*/ 1265129 h 1265129"/>
                  <a:gd name="connsiteX3" fmla="*/ 1843319 w 1843319"/>
                  <a:gd name="connsiteY3" fmla="*/ 947525 h 1265129"/>
                  <a:gd name="connsiteX4" fmla="*/ 1534438 w 1843319"/>
                  <a:gd name="connsiteY4" fmla="*/ 0 h 1265129"/>
                  <a:gd name="connsiteX0" fmla="*/ 1534438 w 1859945"/>
                  <a:gd name="connsiteY0" fmla="*/ 0 h 1265129"/>
                  <a:gd name="connsiteX1" fmla="*/ 0 w 1859945"/>
                  <a:gd name="connsiteY1" fmla="*/ 256784 h 1265129"/>
                  <a:gd name="connsiteX2" fmla="*/ 306888 w 1859945"/>
                  <a:gd name="connsiteY2" fmla="*/ 1265129 h 1265129"/>
                  <a:gd name="connsiteX3" fmla="*/ 1859945 w 1859945"/>
                  <a:gd name="connsiteY3" fmla="*/ 947525 h 1265129"/>
                  <a:gd name="connsiteX4" fmla="*/ 1534438 w 1859945"/>
                  <a:gd name="connsiteY4" fmla="*/ 0 h 1265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945" h="1265129">
                    <a:moveTo>
                      <a:pt x="1534438" y="0"/>
                    </a:moveTo>
                    <a:lnTo>
                      <a:pt x="0" y="256784"/>
                    </a:lnTo>
                    <a:lnTo>
                      <a:pt x="306888" y="1265129"/>
                    </a:lnTo>
                    <a:lnTo>
                      <a:pt x="1859945" y="947525"/>
                    </a:lnTo>
                    <a:lnTo>
                      <a:pt x="1534438" y="0"/>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9" name="Freihandform 8"/>
              <p:cNvSpPr/>
              <p:nvPr/>
            </p:nvSpPr>
            <p:spPr>
              <a:xfrm>
                <a:off x="563671" y="4380980"/>
                <a:ext cx="3263030" cy="1008346"/>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 name="connsiteX0" fmla="*/ 1471809 w 3613759"/>
                  <a:gd name="connsiteY0" fmla="*/ 1947798 h 1947798"/>
                  <a:gd name="connsiteX1" fmla="*/ 3613759 w 3613759"/>
                  <a:gd name="connsiteY1" fmla="*/ 1365337 h 1947798"/>
                  <a:gd name="connsiteX2" fmla="*/ 2317315 w 3613759"/>
                  <a:gd name="connsiteY2" fmla="*/ 939452 h 1947798"/>
                  <a:gd name="connsiteX3" fmla="*/ 0 w 3613759"/>
                  <a:gd name="connsiteY3" fmla="*/ 0 h 1947798"/>
                  <a:gd name="connsiteX4" fmla="*/ 419622 w 3613759"/>
                  <a:gd name="connsiteY4" fmla="*/ 1409178 h 1947798"/>
                  <a:gd name="connsiteX5" fmla="*/ 1471809 w 3613759"/>
                  <a:gd name="connsiteY5" fmla="*/ 1947798 h 1947798"/>
                  <a:gd name="connsiteX0" fmla="*/ 1052187 w 3194137"/>
                  <a:gd name="connsiteY0" fmla="*/ 1008346 h 1008346"/>
                  <a:gd name="connsiteX1" fmla="*/ 3194137 w 3194137"/>
                  <a:gd name="connsiteY1" fmla="*/ 425885 h 1008346"/>
                  <a:gd name="connsiteX2" fmla="*/ 1897693 w 3194137"/>
                  <a:gd name="connsiteY2" fmla="*/ 0 h 1008346"/>
                  <a:gd name="connsiteX3" fmla="*/ 0 w 3194137"/>
                  <a:gd name="connsiteY3" fmla="*/ 469726 h 1008346"/>
                  <a:gd name="connsiteX4" fmla="*/ 1052187 w 3194137"/>
                  <a:gd name="connsiteY4" fmla="*/ 1008346 h 1008346"/>
                  <a:gd name="connsiteX0" fmla="*/ 1052187 w 3194137"/>
                  <a:gd name="connsiteY0" fmla="*/ 1008346 h 1008346"/>
                  <a:gd name="connsiteX1" fmla="*/ 3194137 w 3194137"/>
                  <a:gd name="connsiteY1" fmla="*/ 425885 h 1008346"/>
                  <a:gd name="connsiteX2" fmla="*/ 1897693 w 3194137"/>
                  <a:gd name="connsiteY2" fmla="*/ 0 h 1008346"/>
                  <a:gd name="connsiteX3" fmla="*/ 25052 w 3194137"/>
                  <a:gd name="connsiteY3" fmla="*/ 316280 h 1008346"/>
                  <a:gd name="connsiteX4" fmla="*/ 0 w 3194137"/>
                  <a:gd name="connsiteY4" fmla="*/ 469726 h 1008346"/>
                  <a:gd name="connsiteX5" fmla="*/ 1052187 w 3194137"/>
                  <a:gd name="connsiteY5"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 name="connsiteX0" fmla="*/ 1052187 w 3207156"/>
                  <a:gd name="connsiteY0" fmla="*/ 1008346 h 1008346"/>
                  <a:gd name="connsiteX1" fmla="*/ 3194137 w 3207156"/>
                  <a:gd name="connsiteY1" fmla="*/ 425885 h 1008346"/>
                  <a:gd name="connsiteX2" fmla="*/ 3162822 w 3207156"/>
                  <a:gd name="connsiteY2" fmla="*/ 284965 h 1008346"/>
                  <a:gd name="connsiteX3" fmla="*/ 1897693 w 3207156"/>
                  <a:gd name="connsiteY3" fmla="*/ 0 h 1008346"/>
                  <a:gd name="connsiteX4" fmla="*/ 25052 w 3207156"/>
                  <a:gd name="connsiteY4" fmla="*/ 316280 h 1008346"/>
                  <a:gd name="connsiteX5" fmla="*/ 0 w 3207156"/>
                  <a:gd name="connsiteY5" fmla="*/ 469726 h 1008346"/>
                  <a:gd name="connsiteX6" fmla="*/ 1052187 w 3207156"/>
                  <a:gd name="connsiteY6"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4137" h="1008346">
                    <a:moveTo>
                      <a:pt x="1052187" y="1008346"/>
                    </a:moveTo>
                    <a:lnTo>
                      <a:pt x="3194137" y="425885"/>
                    </a:lnTo>
                    <a:cubicBezTo>
                      <a:pt x="3189962" y="355947"/>
                      <a:pt x="3192049" y="342377"/>
                      <a:pt x="3162822" y="284965"/>
                    </a:cubicBezTo>
                    <a:lnTo>
                      <a:pt x="1897693" y="0"/>
                    </a:lnTo>
                    <a:cubicBezTo>
                      <a:pt x="1329847" y="138829"/>
                      <a:pt x="592898" y="177451"/>
                      <a:pt x="25052" y="316280"/>
                    </a:cubicBezTo>
                    <a:lnTo>
                      <a:pt x="0" y="469726"/>
                    </a:lnTo>
                    <a:lnTo>
                      <a:pt x="1052187" y="1008346"/>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pSp>
          <p:nvGrpSpPr>
            <p:cNvPr id="10" name="Gruppieren 9"/>
            <p:cNvGrpSpPr/>
            <p:nvPr/>
          </p:nvGrpSpPr>
          <p:grpSpPr>
            <a:xfrm>
              <a:off x="6468312" y="3319157"/>
              <a:ext cx="400832" cy="558623"/>
              <a:chOff x="3306871" y="3281818"/>
              <a:chExt cx="1947797" cy="2599151"/>
            </a:xfrm>
          </p:grpSpPr>
          <p:sp>
            <p:nvSpPr>
              <p:cNvPr id="11" name="Rechteck 3"/>
              <p:cNvSpPr/>
              <p:nvPr/>
            </p:nvSpPr>
            <p:spPr>
              <a:xfrm>
                <a:off x="3306871" y="3281818"/>
                <a:ext cx="1947797" cy="2599151"/>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797" h="2599151">
                    <a:moveTo>
                      <a:pt x="0" y="6263"/>
                    </a:moveTo>
                    <a:lnTo>
                      <a:pt x="1415441" y="0"/>
                    </a:lnTo>
                    <a:lnTo>
                      <a:pt x="1947797" y="519831"/>
                    </a:lnTo>
                    <a:lnTo>
                      <a:pt x="1947797" y="2599151"/>
                    </a:lnTo>
                    <a:lnTo>
                      <a:pt x="0" y="2599151"/>
                    </a:lnTo>
                    <a:lnTo>
                      <a:pt x="0" y="6263"/>
                    </a:lnTo>
                    <a:close/>
                  </a:path>
                </a:pathLst>
              </a:custGeom>
              <a:solidFill>
                <a:schemeClr val="bg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 name="Freihandform 11"/>
              <p:cNvSpPr/>
              <p:nvPr/>
            </p:nvSpPr>
            <p:spPr>
              <a:xfrm>
                <a:off x="4716049" y="3288082"/>
                <a:ext cx="532356" cy="519830"/>
              </a:xfrm>
              <a:custGeom>
                <a:avLst/>
                <a:gdLst>
                  <a:gd name="connsiteX0" fmla="*/ 0 w 532356"/>
                  <a:gd name="connsiteY0" fmla="*/ 0 h 457200"/>
                  <a:gd name="connsiteX1" fmla="*/ 0 w 532356"/>
                  <a:gd name="connsiteY1" fmla="*/ 457200 h 457200"/>
                  <a:gd name="connsiteX2" fmla="*/ 532356 w 532356"/>
                  <a:gd name="connsiteY2" fmla="*/ 457200 h 457200"/>
                </a:gdLst>
                <a:ahLst/>
                <a:cxnLst>
                  <a:cxn ang="0">
                    <a:pos x="connsiteX0" y="connsiteY0"/>
                  </a:cxn>
                  <a:cxn ang="0">
                    <a:pos x="connsiteX1" y="connsiteY1"/>
                  </a:cxn>
                  <a:cxn ang="0">
                    <a:pos x="connsiteX2" y="connsiteY2"/>
                  </a:cxn>
                </a:cxnLst>
                <a:rect l="l" t="t" r="r" b="b"/>
                <a:pathLst>
                  <a:path w="532356" h="457200">
                    <a:moveTo>
                      <a:pt x="0" y="0"/>
                    </a:moveTo>
                    <a:lnTo>
                      <a:pt x="0" y="457200"/>
                    </a:lnTo>
                    <a:lnTo>
                      <a:pt x="532356" y="45720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3" name="Gerade Verbindung 12"/>
              <p:cNvCxnSpPr/>
              <p:nvPr/>
            </p:nvCxnSpPr>
            <p:spPr>
              <a:xfrm>
                <a:off x="3707704" y="4402899"/>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a:xfrm>
                <a:off x="3707704" y="4831916"/>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a:off x="3707703" y="5260932"/>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6" name="Gruppieren 15"/>
            <p:cNvGrpSpPr/>
            <p:nvPr/>
          </p:nvGrpSpPr>
          <p:grpSpPr>
            <a:xfrm>
              <a:off x="4767314" y="3202601"/>
              <a:ext cx="290338" cy="735718"/>
              <a:chOff x="8974260" y="3385711"/>
              <a:chExt cx="785293" cy="1974042"/>
            </a:xfrm>
          </p:grpSpPr>
          <p:grpSp>
            <p:nvGrpSpPr>
              <p:cNvPr id="17" name="Gruppieren 16"/>
              <p:cNvGrpSpPr/>
              <p:nvPr/>
            </p:nvGrpSpPr>
            <p:grpSpPr>
              <a:xfrm rot="8762874">
                <a:off x="8974260" y="3385711"/>
                <a:ext cx="240847" cy="1974042"/>
                <a:chOff x="8675657" y="2646996"/>
                <a:chExt cx="240847" cy="1974042"/>
              </a:xfrm>
              <a:solidFill>
                <a:schemeClr val="bg2"/>
              </a:solidFill>
            </p:grpSpPr>
            <p:sp>
              <p:nvSpPr>
                <p:cNvPr id="19" name="Rechteck 18"/>
                <p:cNvSpPr/>
                <p:nvPr/>
              </p:nvSpPr>
              <p:spPr>
                <a:xfrm>
                  <a:off x="8699341" y="2646996"/>
                  <a:ext cx="196656" cy="155133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sp>
              <p:nvSpPr>
                <p:cNvPr id="20" name="Gleichschenkliges Dreieck 19"/>
                <p:cNvSpPr/>
                <p:nvPr/>
              </p:nvSpPr>
              <p:spPr>
                <a:xfrm rot="10800000">
                  <a:off x="8675657" y="4240328"/>
                  <a:ext cx="240847" cy="3807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sp>
            <p:nvSpPr>
              <p:cNvPr id="18" name="Ellipse 17"/>
              <p:cNvSpPr/>
              <p:nvPr/>
            </p:nvSpPr>
            <p:spPr>
              <a:xfrm rot="19738401">
                <a:off x="9537276" y="5144059"/>
                <a:ext cx="222277" cy="987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grpSp>
          <p:nvGrpSpPr>
            <p:cNvPr id="41" name="Gruppieren 40"/>
            <p:cNvGrpSpPr/>
            <p:nvPr/>
          </p:nvGrpSpPr>
          <p:grpSpPr>
            <a:xfrm>
              <a:off x="587223" y="5270984"/>
              <a:ext cx="1159964" cy="733613"/>
              <a:chOff x="162838" y="3012510"/>
              <a:chExt cx="3663863" cy="2376816"/>
            </a:xfrm>
          </p:grpSpPr>
          <p:sp>
            <p:nvSpPr>
              <p:cNvPr id="42" name="Freihandform 41"/>
              <p:cNvSpPr/>
              <p:nvPr/>
            </p:nvSpPr>
            <p:spPr>
              <a:xfrm>
                <a:off x="162838" y="3012510"/>
                <a:ext cx="3613759" cy="2248422"/>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3759" h="2248422">
                    <a:moveTo>
                      <a:pt x="1471809" y="2248422"/>
                    </a:moveTo>
                    <a:lnTo>
                      <a:pt x="3613759" y="1665961"/>
                    </a:lnTo>
                    <a:lnTo>
                      <a:pt x="2317315" y="1240076"/>
                    </a:lnTo>
                    <a:lnTo>
                      <a:pt x="1885167" y="0"/>
                    </a:lnTo>
                    <a:lnTo>
                      <a:pt x="0" y="300624"/>
                    </a:lnTo>
                    <a:lnTo>
                      <a:pt x="419622" y="1709802"/>
                    </a:lnTo>
                    <a:lnTo>
                      <a:pt x="1471809" y="2248422"/>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3" name="Freihandform 42"/>
              <p:cNvSpPr/>
              <p:nvPr/>
            </p:nvSpPr>
            <p:spPr>
              <a:xfrm>
                <a:off x="394570" y="3194137"/>
                <a:ext cx="1859945" cy="1265129"/>
              </a:xfrm>
              <a:custGeom>
                <a:avLst/>
                <a:gdLst>
                  <a:gd name="connsiteX0" fmla="*/ 1534438 w 1822537"/>
                  <a:gd name="connsiteY0" fmla="*/ 0 h 1265129"/>
                  <a:gd name="connsiteX1" fmla="*/ 0 w 1822537"/>
                  <a:gd name="connsiteY1" fmla="*/ 256784 h 1265129"/>
                  <a:gd name="connsiteX2" fmla="*/ 306888 w 1822537"/>
                  <a:gd name="connsiteY2" fmla="*/ 1265129 h 1265129"/>
                  <a:gd name="connsiteX3" fmla="*/ 1822537 w 1822537"/>
                  <a:gd name="connsiteY3" fmla="*/ 951978 h 1265129"/>
                  <a:gd name="connsiteX4" fmla="*/ 1534438 w 1822537"/>
                  <a:gd name="connsiteY4" fmla="*/ 0 h 1265129"/>
                  <a:gd name="connsiteX0" fmla="*/ 1534438 w 1843319"/>
                  <a:gd name="connsiteY0" fmla="*/ 0 h 1265129"/>
                  <a:gd name="connsiteX1" fmla="*/ 0 w 1843319"/>
                  <a:gd name="connsiteY1" fmla="*/ 256784 h 1265129"/>
                  <a:gd name="connsiteX2" fmla="*/ 306888 w 1843319"/>
                  <a:gd name="connsiteY2" fmla="*/ 1265129 h 1265129"/>
                  <a:gd name="connsiteX3" fmla="*/ 1843319 w 1843319"/>
                  <a:gd name="connsiteY3" fmla="*/ 947525 h 1265129"/>
                  <a:gd name="connsiteX4" fmla="*/ 1534438 w 1843319"/>
                  <a:gd name="connsiteY4" fmla="*/ 0 h 1265129"/>
                  <a:gd name="connsiteX0" fmla="*/ 1534438 w 1859945"/>
                  <a:gd name="connsiteY0" fmla="*/ 0 h 1265129"/>
                  <a:gd name="connsiteX1" fmla="*/ 0 w 1859945"/>
                  <a:gd name="connsiteY1" fmla="*/ 256784 h 1265129"/>
                  <a:gd name="connsiteX2" fmla="*/ 306888 w 1859945"/>
                  <a:gd name="connsiteY2" fmla="*/ 1265129 h 1265129"/>
                  <a:gd name="connsiteX3" fmla="*/ 1859945 w 1859945"/>
                  <a:gd name="connsiteY3" fmla="*/ 947525 h 1265129"/>
                  <a:gd name="connsiteX4" fmla="*/ 1534438 w 1859945"/>
                  <a:gd name="connsiteY4" fmla="*/ 0 h 1265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945" h="1265129">
                    <a:moveTo>
                      <a:pt x="1534438" y="0"/>
                    </a:moveTo>
                    <a:lnTo>
                      <a:pt x="0" y="256784"/>
                    </a:lnTo>
                    <a:lnTo>
                      <a:pt x="306888" y="1265129"/>
                    </a:lnTo>
                    <a:lnTo>
                      <a:pt x="1859945" y="947525"/>
                    </a:lnTo>
                    <a:lnTo>
                      <a:pt x="1534438" y="0"/>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4" name="Freihandform 43"/>
              <p:cNvSpPr/>
              <p:nvPr/>
            </p:nvSpPr>
            <p:spPr>
              <a:xfrm>
                <a:off x="563671" y="4380980"/>
                <a:ext cx="3263030" cy="1008346"/>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 name="connsiteX0" fmla="*/ 1471809 w 3613759"/>
                  <a:gd name="connsiteY0" fmla="*/ 1947798 h 1947798"/>
                  <a:gd name="connsiteX1" fmla="*/ 3613759 w 3613759"/>
                  <a:gd name="connsiteY1" fmla="*/ 1365337 h 1947798"/>
                  <a:gd name="connsiteX2" fmla="*/ 2317315 w 3613759"/>
                  <a:gd name="connsiteY2" fmla="*/ 939452 h 1947798"/>
                  <a:gd name="connsiteX3" fmla="*/ 0 w 3613759"/>
                  <a:gd name="connsiteY3" fmla="*/ 0 h 1947798"/>
                  <a:gd name="connsiteX4" fmla="*/ 419622 w 3613759"/>
                  <a:gd name="connsiteY4" fmla="*/ 1409178 h 1947798"/>
                  <a:gd name="connsiteX5" fmla="*/ 1471809 w 3613759"/>
                  <a:gd name="connsiteY5" fmla="*/ 1947798 h 1947798"/>
                  <a:gd name="connsiteX0" fmla="*/ 1052187 w 3194137"/>
                  <a:gd name="connsiteY0" fmla="*/ 1008346 h 1008346"/>
                  <a:gd name="connsiteX1" fmla="*/ 3194137 w 3194137"/>
                  <a:gd name="connsiteY1" fmla="*/ 425885 h 1008346"/>
                  <a:gd name="connsiteX2" fmla="*/ 1897693 w 3194137"/>
                  <a:gd name="connsiteY2" fmla="*/ 0 h 1008346"/>
                  <a:gd name="connsiteX3" fmla="*/ 0 w 3194137"/>
                  <a:gd name="connsiteY3" fmla="*/ 469726 h 1008346"/>
                  <a:gd name="connsiteX4" fmla="*/ 1052187 w 3194137"/>
                  <a:gd name="connsiteY4" fmla="*/ 1008346 h 1008346"/>
                  <a:gd name="connsiteX0" fmla="*/ 1052187 w 3194137"/>
                  <a:gd name="connsiteY0" fmla="*/ 1008346 h 1008346"/>
                  <a:gd name="connsiteX1" fmla="*/ 3194137 w 3194137"/>
                  <a:gd name="connsiteY1" fmla="*/ 425885 h 1008346"/>
                  <a:gd name="connsiteX2" fmla="*/ 1897693 w 3194137"/>
                  <a:gd name="connsiteY2" fmla="*/ 0 h 1008346"/>
                  <a:gd name="connsiteX3" fmla="*/ 25052 w 3194137"/>
                  <a:gd name="connsiteY3" fmla="*/ 316280 h 1008346"/>
                  <a:gd name="connsiteX4" fmla="*/ 0 w 3194137"/>
                  <a:gd name="connsiteY4" fmla="*/ 469726 h 1008346"/>
                  <a:gd name="connsiteX5" fmla="*/ 1052187 w 3194137"/>
                  <a:gd name="connsiteY5"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 name="connsiteX0" fmla="*/ 1052187 w 3207156"/>
                  <a:gd name="connsiteY0" fmla="*/ 1008346 h 1008346"/>
                  <a:gd name="connsiteX1" fmla="*/ 3194137 w 3207156"/>
                  <a:gd name="connsiteY1" fmla="*/ 425885 h 1008346"/>
                  <a:gd name="connsiteX2" fmla="*/ 3162822 w 3207156"/>
                  <a:gd name="connsiteY2" fmla="*/ 284965 h 1008346"/>
                  <a:gd name="connsiteX3" fmla="*/ 1897693 w 3207156"/>
                  <a:gd name="connsiteY3" fmla="*/ 0 h 1008346"/>
                  <a:gd name="connsiteX4" fmla="*/ 25052 w 3207156"/>
                  <a:gd name="connsiteY4" fmla="*/ 316280 h 1008346"/>
                  <a:gd name="connsiteX5" fmla="*/ 0 w 3207156"/>
                  <a:gd name="connsiteY5" fmla="*/ 469726 h 1008346"/>
                  <a:gd name="connsiteX6" fmla="*/ 1052187 w 3207156"/>
                  <a:gd name="connsiteY6"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4137" h="1008346">
                    <a:moveTo>
                      <a:pt x="1052187" y="1008346"/>
                    </a:moveTo>
                    <a:lnTo>
                      <a:pt x="3194137" y="425885"/>
                    </a:lnTo>
                    <a:cubicBezTo>
                      <a:pt x="3189962" y="355947"/>
                      <a:pt x="3192049" y="342377"/>
                      <a:pt x="3162822" y="284965"/>
                    </a:cubicBezTo>
                    <a:lnTo>
                      <a:pt x="1897693" y="0"/>
                    </a:lnTo>
                    <a:cubicBezTo>
                      <a:pt x="1329847" y="138829"/>
                      <a:pt x="592898" y="177451"/>
                      <a:pt x="25052" y="316280"/>
                    </a:cubicBezTo>
                    <a:lnTo>
                      <a:pt x="0" y="469726"/>
                    </a:lnTo>
                    <a:lnTo>
                      <a:pt x="1052187" y="1008346"/>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pSp>
          <p:nvGrpSpPr>
            <p:cNvPr id="45" name="Gruppieren 44"/>
            <p:cNvGrpSpPr/>
            <p:nvPr/>
          </p:nvGrpSpPr>
          <p:grpSpPr>
            <a:xfrm>
              <a:off x="2630246" y="5179250"/>
              <a:ext cx="290338" cy="735718"/>
              <a:chOff x="8974260" y="3385711"/>
              <a:chExt cx="785293" cy="1974042"/>
            </a:xfrm>
          </p:grpSpPr>
          <p:grpSp>
            <p:nvGrpSpPr>
              <p:cNvPr id="46" name="Gruppieren 45"/>
              <p:cNvGrpSpPr/>
              <p:nvPr/>
            </p:nvGrpSpPr>
            <p:grpSpPr>
              <a:xfrm rot="8762874">
                <a:off x="8974260" y="3385711"/>
                <a:ext cx="240847" cy="1974042"/>
                <a:chOff x="8675657" y="2646996"/>
                <a:chExt cx="240847" cy="1974042"/>
              </a:xfrm>
              <a:solidFill>
                <a:schemeClr val="bg2"/>
              </a:solidFill>
            </p:grpSpPr>
            <p:sp>
              <p:nvSpPr>
                <p:cNvPr id="48" name="Rechteck 47"/>
                <p:cNvSpPr/>
                <p:nvPr/>
              </p:nvSpPr>
              <p:spPr>
                <a:xfrm>
                  <a:off x="8699341" y="2646996"/>
                  <a:ext cx="196656" cy="155133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sp>
              <p:nvSpPr>
                <p:cNvPr id="49" name="Gleichschenkliges Dreieck 48"/>
                <p:cNvSpPr/>
                <p:nvPr/>
              </p:nvSpPr>
              <p:spPr>
                <a:xfrm rot="10800000">
                  <a:off x="8675657" y="4240328"/>
                  <a:ext cx="240847" cy="3807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sp>
            <p:nvSpPr>
              <p:cNvPr id="47" name="Ellipse 46"/>
              <p:cNvSpPr/>
              <p:nvPr/>
            </p:nvSpPr>
            <p:spPr>
              <a:xfrm rot="19738401">
                <a:off x="9537276" y="5144059"/>
                <a:ext cx="222277" cy="987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grpSp>
          <p:nvGrpSpPr>
            <p:cNvPr id="50" name="Gruppieren 49"/>
            <p:cNvGrpSpPr/>
            <p:nvPr/>
          </p:nvGrpSpPr>
          <p:grpSpPr>
            <a:xfrm>
              <a:off x="849138" y="3319157"/>
              <a:ext cx="400832" cy="558623"/>
              <a:chOff x="3306871" y="3281818"/>
              <a:chExt cx="1947797" cy="2599151"/>
            </a:xfrm>
          </p:grpSpPr>
          <p:sp>
            <p:nvSpPr>
              <p:cNvPr id="51" name="Rechteck 3"/>
              <p:cNvSpPr/>
              <p:nvPr/>
            </p:nvSpPr>
            <p:spPr>
              <a:xfrm>
                <a:off x="3306871" y="3281818"/>
                <a:ext cx="1947797" cy="2599151"/>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797" h="2599151">
                    <a:moveTo>
                      <a:pt x="0" y="6263"/>
                    </a:moveTo>
                    <a:lnTo>
                      <a:pt x="1415441" y="0"/>
                    </a:lnTo>
                    <a:lnTo>
                      <a:pt x="1947797" y="519831"/>
                    </a:lnTo>
                    <a:lnTo>
                      <a:pt x="1947797" y="2599151"/>
                    </a:lnTo>
                    <a:lnTo>
                      <a:pt x="0" y="2599151"/>
                    </a:lnTo>
                    <a:lnTo>
                      <a:pt x="0" y="6263"/>
                    </a:lnTo>
                    <a:close/>
                  </a:path>
                </a:pathLst>
              </a:custGeom>
              <a:solidFill>
                <a:schemeClr val="bg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2" name="Freihandform 51"/>
              <p:cNvSpPr/>
              <p:nvPr/>
            </p:nvSpPr>
            <p:spPr>
              <a:xfrm>
                <a:off x="4716049" y="3288082"/>
                <a:ext cx="532356" cy="519830"/>
              </a:xfrm>
              <a:custGeom>
                <a:avLst/>
                <a:gdLst>
                  <a:gd name="connsiteX0" fmla="*/ 0 w 532356"/>
                  <a:gd name="connsiteY0" fmla="*/ 0 h 457200"/>
                  <a:gd name="connsiteX1" fmla="*/ 0 w 532356"/>
                  <a:gd name="connsiteY1" fmla="*/ 457200 h 457200"/>
                  <a:gd name="connsiteX2" fmla="*/ 532356 w 532356"/>
                  <a:gd name="connsiteY2" fmla="*/ 457200 h 457200"/>
                </a:gdLst>
                <a:ahLst/>
                <a:cxnLst>
                  <a:cxn ang="0">
                    <a:pos x="connsiteX0" y="connsiteY0"/>
                  </a:cxn>
                  <a:cxn ang="0">
                    <a:pos x="connsiteX1" y="connsiteY1"/>
                  </a:cxn>
                  <a:cxn ang="0">
                    <a:pos x="connsiteX2" y="connsiteY2"/>
                  </a:cxn>
                </a:cxnLst>
                <a:rect l="l" t="t" r="r" b="b"/>
                <a:pathLst>
                  <a:path w="532356" h="457200">
                    <a:moveTo>
                      <a:pt x="0" y="0"/>
                    </a:moveTo>
                    <a:lnTo>
                      <a:pt x="0" y="457200"/>
                    </a:lnTo>
                    <a:lnTo>
                      <a:pt x="532356" y="45720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3" name="Gerade Verbindung 52"/>
              <p:cNvCxnSpPr/>
              <p:nvPr/>
            </p:nvCxnSpPr>
            <p:spPr>
              <a:xfrm>
                <a:off x="3707704" y="4402899"/>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p:nvCxnSpPr>
            <p:spPr>
              <a:xfrm>
                <a:off x="3707704" y="4831916"/>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nvCxnSpPr>
            <p:spPr>
              <a:xfrm>
                <a:off x="3707703" y="5260932"/>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2" name="Gruppieren 61"/>
            <p:cNvGrpSpPr/>
            <p:nvPr/>
          </p:nvGrpSpPr>
          <p:grpSpPr>
            <a:xfrm>
              <a:off x="6289162" y="5301117"/>
              <a:ext cx="1159964" cy="733613"/>
              <a:chOff x="162838" y="3012510"/>
              <a:chExt cx="3663863" cy="2376816"/>
            </a:xfrm>
          </p:grpSpPr>
          <p:sp>
            <p:nvSpPr>
              <p:cNvPr id="63" name="Freihandform 62"/>
              <p:cNvSpPr/>
              <p:nvPr/>
            </p:nvSpPr>
            <p:spPr>
              <a:xfrm>
                <a:off x="162838" y="3012510"/>
                <a:ext cx="3613759" cy="2248422"/>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3759" h="2248422">
                    <a:moveTo>
                      <a:pt x="1471809" y="2248422"/>
                    </a:moveTo>
                    <a:lnTo>
                      <a:pt x="3613759" y="1665961"/>
                    </a:lnTo>
                    <a:lnTo>
                      <a:pt x="2317315" y="1240076"/>
                    </a:lnTo>
                    <a:lnTo>
                      <a:pt x="1885167" y="0"/>
                    </a:lnTo>
                    <a:lnTo>
                      <a:pt x="0" y="300624"/>
                    </a:lnTo>
                    <a:lnTo>
                      <a:pt x="419622" y="1709802"/>
                    </a:lnTo>
                    <a:lnTo>
                      <a:pt x="1471809" y="2248422"/>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4" name="Freihandform 63"/>
              <p:cNvSpPr/>
              <p:nvPr/>
            </p:nvSpPr>
            <p:spPr>
              <a:xfrm>
                <a:off x="394570" y="3194137"/>
                <a:ext cx="1859945" cy="1265129"/>
              </a:xfrm>
              <a:custGeom>
                <a:avLst/>
                <a:gdLst>
                  <a:gd name="connsiteX0" fmla="*/ 1534438 w 1822537"/>
                  <a:gd name="connsiteY0" fmla="*/ 0 h 1265129"/>
                  <a:gd name="connsiteX1" fmla="*/ 0 w 1822537"/>
                  <a:gd name="connsiteY1" fmla="*/ 256784 h 1265129"/>
                  <a:gd name="connsiteX2" fmla="*/ 306888 w 1822537"/>
                  <a:gd name="connsiteY2" fmla="*/ 1265129 h 1265129"/>
                  <a:gd name="connsiteX3" fmla="*/ 1822537 w 1822537"/>
                  <a:gd name="connsiteY3" fmla="*/ 951978 h 1265129"/>
                  <a:gd name="connsiteX4" fmla="*/ 1534438 w 1822537"/>
                  <a:gd name="connsiteY4" fmla="*/ 0 h 1265129"/>
                  <a:gd name="connsiteX0" fmla="*/ 1534438 w 1843319"/>
                  <a:gd name="connsiteY0" fmla="*/ 0 h 1265129"/>
                  <a:gd name="connsiteX1" fmla="*/ 0 w 1843319"/>
                  <a:gd name="connsiteY1" fmla="*/ 256784 h 1265129"/>
                  <a:gd name="connsiteX2" fmla="*/ 306888 w 1843319"/>
                  <a:gd name="connsiteY2" fmla="*/ 1265129 h 1265129"/>
                  <a:gd name="connsiteX3" fmla="*/ 1843319 w 1843319"/>
                  <a:gd name="connsiteY3" fmla="*/ 947525 h 1265129"/>
                  <a:gd name="connsiteX4" fmla="*/ 1534438 w 1843319"/>
                  <a:gd name="connsiteY4" fmla="*/ 0 h 1265129"/>
                  <a:gd name="connsiteX0" fmla="*/ 1534438 w 1859945"/>
                  <a:gd name="connsiteY0" fmla="*/ 0 h 1265129"/>
                  <a:gd name="connsiteX1" fmla="*/ 0 w 1859945"/>
                  <a:gd name="connsiteY1" fmla="*/ 256784 h 1265129"/>
                  <a:gd name="connsiteX2" fmla="*/ 306888 w 1859945"/>
                  <a:gd name="connsiteY2" fmla="*/ 1265129 h 1265129"/>
                  <a:gd name="connsiteX3" fmla="*/ 1859945 w 1859945"/>
                  <a:gd name="connsiteY3" fmla="*/ 947525 h 1265129"/>
                  <a:gd name="connsiteX4" fmla="*/ 1534438 w 1859945"/>
                  <a:gd name="connsiteY4" fmla="*/ 0 h 1265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945" h="1265129">
                    <a:moveTo>
                      <a:pt x="1534438" y="0"/>
                    </a:moveTo>
                    <a:lnTo>
                      <a:pt x="0" y="256784"/>
                    </a:lnTo>
                    <a:lnTo>
                      <a:pt x="306888" y="1265129"/>
                    </a:lnTo>
                    <a:lnTo>
                      <a:pt x="1859945" y="947525"/>
                    </a:lnTo>
                    <a:lnTo>
                      <a:pt x="1534438" y="0"/>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5" name="Freihandform 64"/>
              <p:cNvSpPr/>
              <p:nvPr/>
            </p:nvSpPr>
            <p:spPr>
              <a:xfrm>
                <a:off x="563671" y="4380980"/>
                <a:ext cx="3263030" cy="1008346"/>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 name="connsiteX0" fmla="*/ 1471809 w 3613759"/>
                  <a:gd name="connsiteY0" fmla="*/ 1947798 h 1947798"/>
                  <a:gd name="connsiteX1" fmla="*/ 3613759 w 3613759"/>
                  <a:gd name="connsiteY1" fmla="*/ 1365337 h 1947798"/>
                  <a:gd name="connsiteX2" fmla="*/ 2317315 w 3613759"/>
                  <a:gd name="connsiteY2" fmla="*/ 939452 h 1947798"/>
                  <a:gd name="connsiteX3" fmla="*/ 0 w 3613759"/>
                  <a:gd name="connsiteY3" fmla="*/ 0 h 1947798"/>
                  <a:gd name="connsiteX4" fmla="*/ 419622 w 3613759"/>
                  <a:gd name="connsiteY4" fmla="*/ 1409178 h 1947798"/>
                  <a:gd name="connsiteX5" fmla="*/ 1471809 w 3613759"/>
                  <a:gd name="connsiteY5" fmla="*/ 1947798 h 1947798"/>
                  <a:gd name="connsiteX0" fmla="*/ 1052187 w 3194137"/>
                  <a:gd name="connsiteY0" fmla="*/ 1008346 h 1008346"/>
                  <a:gd name="connsiteX1" fmla="*/ 3194137 w 3194137"/>
                  <a:gd name="connsiteY1" fmla="*/ 425885 h 1008346"/>
                  <a:gd name="connsiteX2" fmla="*/ 1897693 w 3194137"/>
                  <a:gd name="connsiteY2" fmla="*/ 0 h 1008346"/>
                  <a:gd name="connsiteX3" fmla="*/ 0 w 3194137"/>
                  <a:gd name="connsiteY3" fmla="*/ 469726 h 1008346"/>
                  <a:gd name="connsiteX4" fmla="*/ 1052187 w 3194137"/>
                  <a:gd name="connsiteY4" fmla="*/ 1008346 h 1008346"/>
                  <a:gd name="connsiteX0" fmla="*/ 1052187 w 3194137"/>
                  <a:gd name="connsiteY0" fmla="*/ 1008346 h 1008346"/>
                  <a:gd name="connsiteX1" fmla="*/ 3194137 w 3194137"/>
                  <a:gd name="connsiteY1" fmla="*/ 425885 h 1008346"/>
                  <a:gd name="connsiteX2" fmla="*/ 1897693 w 3194137"/>
                  <a:gd name="connsiteY2" fmla="*/ 0 h 1008346"/>
                  <a:gd name="connsiteX3" fmla="*/ 25052 w 3194137"/>
                  <a:gd name="connsiteY3" fmla="*/ 316280 h 1008346"/>
                  <a:gd name="connsiteX4" fmla="*/ 0 w 3194137"/>
                  <a:gd name="connsiteY4" fmla="*/ 469726 h 1008346"/>
                  <a:gd name="connsiteX5" fmla="*/ 1052187 w 3194137"/>
                  <a:gd name="connsiteY5"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 name="connsiteX0" fmla="*/ 1052187 w 3207156"/>
                  <a:gd name="connsiteY0" fmla="*/ 1008346 h 1008346"/>
                  <a:gd name="connsiteX1" fmla="*/ 3194137 w 3207156"/>
                  <a:gd name="connsiteY1" fmla="*/ 425885 h 1008346"/>
                  <a:gd name="connsiteX2" fmla="*/ 3162822 w 3207156"/>
                  <a:gd name="connsiteY2" fmla="*/ 284965 h 1008346"/>
                  <a:gd name="connsiteX3" fmla="*/ 1897693 w 3207156"/>
                  <a:gd name="connsiteY3" fmla="*/ 0 h 1008346"/>
                  <a:gd name="connsiteX4" fmla="*/ 25052 w 3207156"/>
                  <a:gd name="connsiteY4" fmla="*/ 316280 h 1008346"/>
                  <a:gd name="connsiteX5" fmla="*/ 0 w 3207156"/>
                  <a:gd name="connsiteY5" fmla="*/ 469726 h 1008346"/>
                  <a:gd name="connsiteX6" fmla="*/ 1052187 w 3207156"/>
                  <a:gd name="connsiteY6"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4137" h="1008346">
                    <a:moveTo>
                      <a:pt x="1052187" y="1008346"/>
                    </a:moveTo>
                    <a:lnTo>
                      <a:pt x="3194137" y="425885"/>
                    </a:lnTo>
                    <a:cubicBezTo>
                      <a:pt x="3189962" y="355947"/>
                      <a:pt x="3192049" y="342377"/>
                      <a:pt x="3162822" y="284965"/>
                    </a:cubicBezTo>
                    <a:lnTo>
                      <a:pt x="1897693" y="0"/>
                    </a:lnTo>
                    <a:cubicBezTo>
                      <a:pt x="1329847" y="138829"/>
                      <a:pt x="592898" y="177451"/>
                      <a:pt x="25052" y="316280"/>
                    </a:cubicBezTo>
                    <a:lnTo>
                      <a:pt x="0" y="469726"/>
                    </a:lnTo>
                    <a:lnTo>
                      <a:pt x="1052187" y="1008346"/>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pSp>
          <p:nvGrpSpPr>
            <p:cNvPr id="66" name="Gruppieren 65"/>
            <p:cNvGrpSpPr/>
            <p:nvPr/>
          </p:nvGrpSpPr>
          <p:grpSpPr>
            <a:xfrm>
              <a:off x="8822941" y="5280250"/>
              <a:ext cx="290338" cy="735718"/>
              <a:chOff x="8974260" y="3385711"/>
              <a:chExt cx="785293" cy="1974042"/>
            </a:xfrm>
          </p:grpSpPr>
          <p:grpSp>
            <p:nvGrpSpPr>
              <p:cNvPr id="67" name="Gruppieren 66"/>
              <p:cNvGrpSpPr/>
              <p:nvPr/>
            </p:nvGrpSpPr>
            <p:grpSpPr>
              <a:xfrm rot="8762874">
                <a:off x="8974260" y="3385711"/>
                <a:ext cx="240847" cy="1974042"/>
                <a:chOff x="8675657" y="2646996"/>
                <a:chExt cx="240847" cy="1974042"/>
              </a:xfrm>
              <a:solidFill>
                <a:schemeClr val="bg2"/>
              </a:solidFill>
            </p:grpSpPr>
            <p:sp>
              <p:nvSpPr>
                <p:cNvPr id="69" name="Rechteck 68"/>
                <p:cNvSpPr/>
                <p:nvPr/>
              </p:nvSpPr>
              <p:spPr>
                <a:xfrm>
                  <a:off x="8699341" y="2646996"/>
                  <a:ext cx="196656" cy="155133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sp>
              <p:nvSpPr>
                <p:cNvPr id="70" name="Gleichschenkliges Dreieck 69"/>
                <p:cNvSpPr/>
                <p:nvPr/>
              </p:nvSpPr>
              <p:spPr>
                <a:xfrm rot="10800000">
                  <a:off x="8675657" y="4240328"/>
                  <a:ext cx="240847" cy="3807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sp>
            <p:nvSpPr>
              <p:cNvPr id="68" name="Ellipse 67"/>
              <p:cNvSpPr/>
              <p:nvPr/>
            </p:nvSpPr>
            <p:spPr>
              <a:xfrm rot="19738401">
                <a:off x="9537276" y="5144059"/>
                <a:ext cx="222277" cy="987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grpSp>
          <p:nvGrpSpPr>
            <p:cNvPr id="71" name="Gruppieren 70"/>
            <p:cNvGrpSpPr/>
            <p:nvPr/>
          </p:nvGrpSpPr>
          <p:grpSpPr>
            <a:xfrm>
              <a:off x="8072323" y="3240452"/>
              <a:ext cx="1159964" cy="733613"/>
              <a:chOff x="162838" y="3012510"/>
              <a:chExt cx="3663863" cy="2376816"/>
            </a:xfrm>
          </p:grpSpPr>
          <p:sp>
            <p:nvSpPr>
              <p:cNvPr id="72" name="Freihandform 71"/>
              <p:cNvSpPr/>
              <p:nvPr/>
            </p:nvSpPr>
            <p:spPr>
              <a:xfrm>
                <a:off x="162838" y="3012510"/>
                <a:ext cx="3613759" cy="2248422"/>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3759" h="2248422">
                    <a:moveTo>
                      <a:pt x="1471809" y="2248422"/>
                    </a:moveTo>
                    <a:lnTo>
                      <a:pt x="3613759" y="1665961"/>
                    </a:lnTo>
                    <a:lnTo>
                      <a:pt x="2317315" y="1240076"/>
                    </a:lnTo>
                    <a:lnTo>
                      <a:pt x="1885167" y="0"/>
                    </a:lnTo>
                    <a:lnTo>
                      <a:pt x="0" y="300624"/>
                    </a:lnTo>
                    <a:lnTo>
                      <a:pt x="419622" y="1709802"/>
                    </a:lnTo>
                    <a:lnTo>
                      <a:pt x="1471809" y="2248422"/>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3" name="Freihandform 72"/>
              <p:cNvSpPr/>
              <p:nvPr/>
            </p:nvSpPr>
            <p:spPr>
              <a:xfrm>
                <a:off x="394570" y="3194137"/>
                <a:ext cx="1859945" cy="1265129"/>
              </a:xfrm>
              <a:custGeom>
                <a:avLst/>
                <a:gdLst>
                  <a:gd name="connsiteX0" fmla="*/ 1534438 w 1822537"/>
                  <a:gd name="connsiteY0" fmla="*/ 0 h 1265129"/>
                  <a:gd name="connsiteX1" fmla="*/ 0 w 1822537"/>
                  <a:gd name="connsiteY1" fmla="*/ 256784 h 1265129"/>
                  <a:gd name="connsiteX2" fmla="*/ 306888 w 1822537"/>
                  <a:gd name="connsiteY2" fmla="*/ 1265129 h 1265129"/>
                  <a:gd name="connsiteX3" fmla="*/ 1822537 w 1822537"/>
                  <a:gd name="connsiteY3" fmla="*/ 951978 h 1265129"/>
                  <a:gd name="connsiteX4" fmla="*/ 1534438 w 1822537"/>
                  <a:gd name="connsiteY4" fmla="*/ 0 h 1265129"/>
                  <a:gd name="connsiteX0" fmla="*/ 1534438 w 1843319"/>
                  <a:gd name="connsiteY0" fmla="*/ 0 h 1265129"/>
                  <a:gd name="connsiteX1" fmla="*/ 0 w 1843319"/>
                  <a:gd name="connsiteY1" fmla="*/ 256784 h 1265129"/>
                  <a:gd name="connsiteX2" fmla="*/ 306888 w 1843319"/>
                  <a:gd name="connsiteY2" fmla="*/ 1265129 h 1265129"/>
                  <a:gd name="connsiteX3" fmla="*/ 1843319 w 1843319"/>
                  <a:gd name="connsiteY3" fmla="*/ 947525 h 1265129"/>
                  <a:gd name="connsiteX4" fmla="*/ 1534438 w 1843319"/>
                  <a:gd name="connsiteY4" fmla="*/ 0 h 1265129"/>
                  <a:gd name="connsiteX0" fmla="*/ 1534438 w 1859945"/>
                  <a:gd name="connsiteY0" fmla="*/ 0 h 1265129"/>
                  <a:gd name="connsiteX1" fmla="*/ 0 w 1859945"/>
                  <a:gd name="connsiteY1" fmla="*/ 256784 h 1265129"/>
                  <a:gd name="connsiteX2" fmla="*/ 306888 w 1859945"/>
                  <a:gd name="connsiteY2" fmla="*/ 1265129 h 1265129"/>
                  <a:gd name="connsiteX3" fmla="*/ 1859945 w 1859945"/>
                  <a:gd name="connsiteY3" fmla="*/ 947525 h 1265129"/>
                  <a:gd name="connsiteX4" fmla="*/ 1534438 w 1859945"/>
                  <a:gd name="connsiteY4" fmla="*/ 0 h 1265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945" h="1265129">
                    <a:moveTo>
                      <a:pt x="1534438" y="0"/>
                    </a:moveTo>
                    <a:lnTo>
                      <a:pt x="0" y="256784"/>
                    </a:lnTo>
                    <a:lnTo>
                      <a:pt x="306888" y="1265129"/>
                    </a:lnTo>
                    <a:lnTo>
                      <a:pt x="1859945" y="947525"/>
                    </a:lnTo>
                    <a:lnTo>
                      <a:pt x="1534438" y="0"/>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4" name="Freihandform 73"/>
              <p:cNvSpPr/>
              <p:nvPr/>
            </p:nvSpPr>
            <p:spPr>
              <a:xfrm>
                <a:off x="563671" y="4380980"/>
                <a:ext cx="3263030" cy="1008346"/>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 name="connsiteX0" fmla="*/ 1471809 w 3613759"/>
                  <a:gd name="connsiteY0" fmla="*/ 1947798 h 1947798"/>
                  <a:gd name="connsiteX1" fmla="*/ 3613759 w 3613759"/>
                  <a:gd name="connsiteY1" fmla="*/ 1365337 h 1947798"/>
                  <a:gd name="connsiteX2" fmla="*/ 2317315 w 3613759"/>
                  <a:gd name="connsiteY2" fmla="*/ 939452 h 1947798"/>
                  <a:gd name="connsiteX3" fmla="*/ 0 w 3613759"/>
                  <a:gd name="connsiteY3" fmla="*/ 0 h 1947798"/>
                  <a:gd name="connsiteX4" fmla="*/ 419622 w 3613759"/>
                  <a:gd name="connsiteY4" fmla="*/ 1409178 h 1947798"/>
                  <a:gd name="connsiteX5" fmla="*/ 1471809 w 3613759"/>
                  <a:gd name="connsiteY5" fmla="*/ 1947798 h 1947798"/>
                  <a:gd name="connsiteX0" fmla="*/ 1052187 w 3194137"/>
                  <a:gd name="connsiteY0" fmla="*/ 1008346 h 1008346"/>
                  <a:gd name="connsiteX1" fmla="*/ 3194137 w 3194137"/>
                  <a:gd name="connsiteY1" fmla="*/ 425885 h 1008346"/>
                  <a:gd name="connsiteX2" fmla="*/ 1897693 w 3194137"/>
                  <a:gd name="connsiteY2" fmla="*/ 0 h 1008346"/>
                  <a:gd name="connsiteX3" fmla="*/ 0 w 3194137"/>
                  <a:gd name="connsiteY3" fmla="*/ 469726 h 1008346"/>
                  <a:gd name="connsiteX4" fmla="*/ 1052187 w 3194137"/>
                  <a:gd name="connsiteY4" fmla="*/ 1008346 h 1008346"/>
                  <a:gd name="connsiteX0" fmla="*/ 1052187 w 3194137"/>
                  <a:gd name="connsiteY0" fmla="*/ 1008346 h 1008346"/>
                  <a:gd name="connsiteX1" fmla="*/ 3194137 w 3194137"/>
                  <a:gd name="connsiteY1" fmla="*/ 425885 h 1008346"/>
                  <a:gd name="connsiteX2" fmla="*/ 1897693 w 3194137"/>
                  <a:gd name="connsiteY2" fmla="*/ 0 h 1008346"/>
                  <a:gd name="connsiteX3" fmla="*/ 25052 w 3194137"/>
                  <a:gd name="connsiteY3" fmla="*/ 316280 h 1008346"/>
                  <a:gd name="connsiteX4" fmla="*/ 0 w 3194137"/>
                  <a:gd name="connsiteY4" fmla="*/ 469726 h 1008346"/>
                  <a:gd name="connsiteX5" fmla="*/ 1052187 w 3194137"/>
                  <a:gd name="connsiteY5"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 name="connsiteX0" fmla="*/ 1052187 w 3207156"/>
                  <a:gd name="connsiteY0" fmla="*/ 1008346 h 1008346"/>
                  <a:gd name="connsiteX1" fmla="*/ 3194137 w 3207156"/>
                  <a:gd name="connsiteY1" fmla="*/ 425885 h 1008346"/>
                  <a:gd name="connsiteX2" fmla="*/ 3162822 w 3207156"/>
                  <a:gd name="connsiteY2" fmla="*/ 284965 h 1008346"/>
                  <a:gd name="connsiteX3" fmla="*/ 1897693 w 3207156"/>
                  <a:gd name="connsiteY3" fmla="*/ 0 h 1008346"/>
                  <a:gd name="connsiteX4" fmla="*/ 25052 w 3207156"/>
                  <a:gd name="connsiteY4" fmla="*/ 316280 h 1008346"/>
                  <a:gd name="connsiteX5" fmla="*/ 0 w 3207156"/>
                  <a:gd name="connsiteY5" fmla="*/ 469726 h 1008346"/>
                  <a:gd name="connsiteX6" fmla="*/ 1052187 w 3207156"/>
                  <a:gd name="connsiteY6"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4137" h="1008346">
                    <a:moveTo>
                      <a:pt x="1052187" y="1008346"/>
                    </a:moveTo>
                    <a:lnTo>
                      <a:pt x="3194137" y="425885"/>
                    </a:lnTo>
                    <a:cubicBezTo>
                      <a:pt x="3189962" y="355947"/>
                      <a:pt x="3192049" y="342377"/>
                      <a:pt x="3162822" y="284965"/>
                    </a:cubicBezTo>
                    <a:lnTo>
                      <a:pt x="1897693" y="0"/>
                    </a:lnTo>
                    <a:cubicBezTo>
                      <a:pt x="1329847" y="138829"/>
                      <a:pt x="592898" y="177451"/>
                      <a:pt x="25052" y="316280"/>
                    </a:cubicBezTo>
                    <a:lnTo>
                      <a:pt x="0" y="469726"/>
                    </a:lnTo>
                    <a:lnTo>
                      <a:pt x="1052187" y="1008346"/>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pSp>
      <p:sp>
        <p:nvSpPr>
          <p:cNvPr id="3" name="Foliennummernplatzhalter 2"/>
          <p:cNvSpPr>
            <a:spLocks noGrp="1"/>
          </p:cNvSpPr>
          <p:nvPr>
            <p:ph type="sldNum" sz="quarter" idx="12"/>
          </p:nvPr>
        </p:nvSpPr>
        <p:spPr/>
        <p:txBody>
          <a:bodyPr/>
          <a:lstStyle/>
          <a:p>
            <a:fld id="{4AD1E780-DE1C-4ECA-B5E5-863D0BC53287}" type="slidenum">
              <a:rPr lang="de-DE" smtClean="0"/>
              <a:pPr/>
              <a:t>53</a:t>
            </a:fld>
            <a:endParaRPr lang="de-DE" dirty="0"/>
          </a:p>
        </p:txBody>
      </p:sp>
      <p:sp>
        <p:nvSpPr>
          <p:cNvPr id="4" name="Inhaltsplatzhalter 2"/>
          <p:cNvSpPr txBox="1">
            <a:spLocks/>
          </p:cNvSpPr>
          <p:nvPr/>
        </p:nvSpPr>
        <p:spPr>
          <a:xfrm>
            <a:off x="419032" y="1692735"/>
            <a:ext cx="9197934"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3100" dirty="0" smtClean="0">
                <a:solidFill>
                  <a:schemeClr val="accent2"/>
                </a:solidFill>
                <a:latin typeface="Arial" panose="020B0604020202020204" pitchFamily="34" charset="0"/>
                <a:cs typeface="Arial" panose="020B0604020202020204" pitchFamily="34" charset="0"/>
              </a:rPr>
              <a:t>Cost transparency and a competitive market in which our money can follow scholars, not publishers.</a:t>
            </a:r>
          </a:p>
        </p:txBody>
      </p:sp>
      <p:sp>
        <p:nvSpPr>
          <p:cNvPr id="5"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Our</a:t>
            </a:r>
            <a:r>
              <a:rPr lang="de-DE" sz="3600" b="1" dirty="0" smtClean="0">
                <a:solidFill>
                  <a:schemeClr val="accent6"/>
                </a:solidFill>
              </a:rPr>
              <a:t> </a:t>
            </a:r>
            <a:r>
              <a:rPr lang="de-DE" sz="3600" b="1" dirty="0" err="1" smtClean="0">
                <a:solidFill>
                  <a:schemeClr val="accent6"/>
                </a:solidFill>
              </a:rPr>
              <a:t>destination</a:t>
            </a:r>
            <a:endParaRPr lang="de-DE" sz="3600" dirty="0"/>
          </a:p>
        </p:txBody>
      </p:sp>
      <p:pic>
        <p:nvPicPr>
          <p:cNvPr id="21" name="Grafik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88305" y="5314685"/>
            <a:ext cx="1884116" cy="855480"/>
          </a:xfrm>
          <a:prstGeom prst="rect">
            <a:avLst/>
          </a:prstGeom>
          <a:effectLst>
            <a:outerShdw blurRad="50800" dist="38100" dir="2700000" algn="tl" rotWithShape="0">
              <a:prstClr val="black">
                <a:alpha val="40000"/>
              </a:prstClr>
            </a:outerShdw>
          </a:effectLst>
        </p:spPr>
      </p:pic>
      <p:pic>
        <p:nvPicPr>
          <p:cNvPr id="22" name="Grafik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88305" y="5157030"/>
            <a:ext cx="1884116" cy="855480"/>
          </a:xfrm>
          <a:prstGeom prst="rect">
            <a:avLst/>
          </a:prstGeom>
          <a:effectLst>
            <a:outerShdw blurRad="50800" dist="38100" dir="2700000" algn="tl" rotWithShape="0">
              <a:prstClr val="black">
                <a:alpha val="40000"/>
              </a:prstClr>
            </a:outerShdw>
          </a:effectLst>
        </p:spPr>
      </p:pic>
      <p:pic>
        <p:nvPicPr>
          <p:cNvPr id="23" name="Grafik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88305" y="4982135"/>
            <a:ext cx="1884116" cy="855480"/>
          </a:xfrm>
          <a:prstGeom prst="rect">
            <a:avLst/>
          </a:prstGeom>
          <a:effectLst>
            <a:outerShdw blurRad="50800" dist="38100" dir="2700000" algn="tl" rotWithShape="0">
              <a:prstClr val="black">
                <a:alpha val="40000"/>
              </a:prstClr>
            </a:outerShdw>
          </a:effectLst>
        </p:spPr>
      </p:pic>
      <p:pic>
        <p:nvPicPr>
          <p:cNvPr id="24" name="Grafik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94647" y="4819109"/>
            <a:ext cx="1884116" cy="855480"/>
          </a:xfrm>
          <a:prstGeom prst="rect">
            <a:avLst/>
          </a:prstGeom>
          <a:effectLst>
            <a:outerShdw blurRad="50800" dist="38100" dir="2700000" algn="tl" rotWithShape="0">
              <a:prstClr val="black">
                <a:alpha val="40000"/>
              </a:prstClr>
            </a:outerShdw>
          </a:effectLst>
        </p:spPr>
      </p:pic>
      <p:pic>
        <p:nvPicPr>
          <p:cNvPr id="25" name="Grafik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94647" y="4636831"/>
            <a:ext cx="1884116" cy="855480"/>
          </a:xfrm>
          <a:prstGeom prst="rect">
            <a:avLst/>
          </a:prstGeom>
          <a:effectLst>
            <a:outerShdw blurRad="50800" dist="38100" dir="2700000" algn="tl" rotWithShape="0">
              <a:prstClr val="black">
                <a:alpha val="40000"/>
              </a:prstClr>
            </a:outerShdw>
          </a:effectLst>
        </p:spPr>
      </p:pic>
      <p:pic>
        <p:nvPicPr>
          <p:cNvPr id="26" name="Grafik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8995" y="5674826"/>
            <a:ext cx="1884116" cy="855480"/>
          </a:xfrm>
          <a:prstGeom prst="rect">
            <a:avLst/>
          </a:prstGeom>
          <a:effectLst>
            <a:outerShdw blurRad="50800" dist="38100" dir="2700000" algn="tl" rotWithShape="0">
              <a:prstClr val="black">
                <a:alpha val="40000"/>
              </a:prstClr>
            </a:outerShdw>
          </a:effectLst>
        </p:spPr>
      </p:pic>
      <p:pic>
        <p:nvPicPr>
          <p:cNvPr id="27" name="Grafik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8995" y="5517171"/>
            <a:ext cx="1884116" cy="855480"/>
          </a:xfrm>
          <a:prstGeom prst="rect">
            <a:avLst/>
          </a:prstGeom>
          <a:effectLst>
            <a:outerShdw blurRad="50800" dist="38100" dir="2700000" algn="tl" rotWithShape="0">
              <a:prstClr val="black">
                <a:alpha val="40000"/>
              </a:prstClr>
            </a:outerShdw>
          </a:effectLst>
        </p:spPr>
      </p:pic>
      <p:pic>
        <p:nvPicPr>
          <p:cNvPr id="28" name="Grafik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8995" y="5342276"/>
            <a:ext cx="1884116" cy="855480"/>
          </a:xfrm>
          <a:prstGeom prst="rect">
            <a:avLst/>
          </a:prstGeom>
          <a:effectLst>
            <a:outerShdw blurRad="50800" dist="38100" dir="2700000" algn="tl" rotWithShape="0">
              <a:prstClr val="black">
                <a:alpha val="40000"/>
              </a:prstClr>
            </a:outerShdw>
          </a:effectLst>
        </p:spPr>
      </p:pic>
      <p:pic>
        <p:nvPicPr>
          <p:cNvPr id="29" name="Grafik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65337" y="5179250"/>
            <a:ext cx="1884116" cy="855480"/>
          </a:xfrm>
          <a:prstGeom prst="rect">
            <a:avLst/>
          </a:prstGeom>
          <a:effectLst>
            <a:outerShdw blurRad="50800" dist="38100" dir="2700000" algn="tl" rotWithShape="0">
              <a:prstClr val="black">
                <a:alpha val="40000"/>
              </a:prstClr>
            </a:outerShdw>
          </a:effectLst>
        </p:spPr>
      </p:pic>
      <p:pic>
        <p:nvPicPr>
          <p:cNvPr id="30" name="Grafik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65337" y="4996972"/>
            <a:ext cx="1884116" cy="855480"/>
          </a:xfrm>
          <a:prstGeom prst="rect">
            <a:avLst/>
          </a:prstGeom>
          <a:effectLst>
            <a:outerShdw blurRad="50800" dist="38100" dir="2700000" algn="tl" rotWithShape="0">
              <a:prstClr val="black">
                <a:alpha val="40000"/>
              </a:prstClr>
            </a:outerShdw>
          </a:effectLst>
        </p:spPr>
      </p:pic>
      <p:pic>
        <p:nvPicPr>
          <p:cNvPr id="31" name="Grafik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88305" y="4483103"/>
            <a:ext cx="1884116" cy="855480"/>
          </a:xfrm>
          <a:prstGeom prst="rect">
            <a:avLst/>
          </a:prstGeom>
          <a:effectLst>
            <a:outerShdw blurRad="50800" dist="38100" dir="2700000" algn="tl" rotWithShape="0">
              <a:prstClr val="black">
                <a:alpha val="40000"/>
              </a:prstClr>
            </a:outerShdw>
          </a:effectLst>
        </p:spPr>
      </p:pic>
      <p:pic>
        <p:nvPicPr>
          <p:cNvPr id="32" name="Grafik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88305" y="4325448"/>
            <a:ext cx="1884116" cy="855480"/>
          </a:xfrm>
          <a:prstGeom prst="rect">
            <a:avLst/>
          </a:prstGeom>
          <a:effectLst>
            <a:outerShdw blurRad="50800" dist="38100" dir="2700000" algn="tl" rotWithShape="0">
              <a:prstClr val="black">
                <a:alpha val="40000"/>
              </a:prstClr>
            </a:outerShdw>
          </a:effectLst>
        </p:spPr>
      </p:pic>
      <p:pic>
        <p:nvPicPr>
          <p:cNvPr id="33" name="Grafik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88305" y="4150553"/>
            <a:ext cx="1884116" cy="855480"/>
          </a:xfrm>
          <a:prstGeom prst="rect">
            <a:avLst/>
          </a:prstGeom>
          <a:effectLst>
            <a:outerShdw blurRad="50800" dist="38100" dir="2700000" algn="tl" rotWithShape="0">
              <a:prstClr val="black">
                <a:alpha val="40000"/>
              </a:prstClr>
            </a:outerShdw>
          </a:effectLst>
        </p:spPr>
      </p:pic>
      <p:pic>
        <p:nvPicPr>
          <p:cNvPr id="34" name="Grafik 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94647" y="3987527"/>
            <a:ext cx="1884116" cy="855480"/>
          </a:xfrm>
          <a:prstGeom prst="rect">
            <a:avLst/>
          </a:prstGeom>
          <a:effectLst>
            <a:outerShdw blurRad="50800" dist="38100" dir="2700000" algn="tl" rotWithShape="0">
              <a:prstClr val="black">
                <a:alpha val="40000"/>
              </a:prstClr>
            </a:outerShdw>
          </a:effectLst>
        </p:spPr>
      </p:pic>
      <p:pic>
        <p:nvPicPr>
          <p:cNvPr id="35" name="Grafik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94647" y="3805249"/>
            <a:ext cx="1884116" cy="855480"/>
          </a:xfrm>
          <a:prstGeom prst="rect">
            <a:avLst/>
          </a:prstGeom>
          <a:effectLst>
            <a:outerShdw blurRad="50800" dist="38100" dir="2700000" algn="tl" rotWithShape="0">
              <a:prstClr val="black">
                <a:alpha val="40000"/>
              </a:prstClr>
            </a:outerShdw>
          </a:effectLst>
        </p:spPr>
      </p:pic>
      <p:pic>
        <p:nvPicPr>
          <p:cNvPr id="36" name="Grafik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8995" y="4843244"/>
            <a:ext cx="1884116" cy="855480"/>
          </a:xfrm>
          <a:prstGeom prst="rect">
            <a:avLst/>
          </a:prstGeom>
          <a:effectLst>
            <a:outerShdw blurRad="50800" dist="38100" dir="2700000" algn="tl" rotWithShape="0">
              <a:prstClr val="black">
                <a:alpha val="40000"/>
              </a:prstClr>
            </a:outerShdw>
          </a:effectLst>
        </p:spPr>
      </p:pic>
      <p:pic>
        <p:nvPicPr>
          <p:cNvPr id="37" name="Grafik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8995" y="4685589"/>
            <a:ext cx="1884116" cy="855480"/>
          </a:xfrm>
          <a:prstGeom prst="rect">
            <a:avLst/>
          </a:prstGeom>
          <a:effectLst>
            <a:outerShdw blurRad="50800" dist="38100" dir="2700000" algn="tl" rotWithShape="0">
              <a:prstClr val="black">
                <a:alpha val="40000"/>
              </a:prstClr>
            </a:outerShdw>
          </a:effectLst>
        </p:spPr>
      </p:pic>
      <p:pic>
        <p:nvPicPr>
          <p:cNvPr id="38" name="Grafik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8995" y="4510694"/>
            <a:ext cx="1884116" cy="855480"/>
          </a:xfrm>
          <a:prstGeom prst="rect">
            <a:avLst/>
          </a:prstGeom>
          <a:effectLst>
            <a:outerShdw blurRad="50800" dist="38100" dir="2700000" algn="tl" rotWithShape="0">
              <a:prstClr val="black">
                <a:alpha val="40000"/>
              </a:prstClr>
            </a:outerShdw>
          </a:effectLst>
        </p:spPr>
      </p:pic>
      <p:pic>
        <p:nvPicPr>
          <p:cNvPr id="39" name="Grafik 3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65337" y="4347668"/>
            <a:ext cx="1884116" cy="855480"/>
          </a:xfrm>
          <a:prstGeom prst="rect">
            <a:avLst/>
          </a:prstGeom>
          <a:effectLst>
            <a:outerShdw blurRad="50800" dist="38100" dir="2700000" algn="tl" rotWithShape="0">
              <a:prstClr val="black">
                <a:alpha val="40000"/>
              </a:prstClr>
            </a:outerShdw>
          </a:effectLst>
        </p:spPr>
      </p:pic>
      <p:pic>
        <p:nvPicPr>
          <p:cNvPr id="40" name="Grafik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65337" y="4165390"/>
            <a:ext cx="1884116" cy="85548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055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0" presetClass="path" presetSubtype="0" accel="50000" decel="50000" fill="hold" nodeType="afterEffect">
                                  <p:stCondLst>
                                    <p:cond delay="2000"/>
                                  </p:stCondLst>
                                  <p:childTnLst>
                                    <p:animMotion origin="layout" path="M 6.07755E-6 -9.25497E-8 C 0.01683 -0.00139 0.03141 -0.00648 0.04759 -0.01204 C 0.07003 -0.01967 0.09262 -0.02731 0.11457 -0.03772 C 0.13172 -0.04582 0.14822 -0.05646 0.16536 -0.06456 C 0.16745 -0.06548 0.16969 -0.06641 0.17177 -0.0671 C 0.17386 -0.0678 0.1761 -0.06803 0.17818 -0.06895 C 0.18972 -0.07428 0.20174 -0.0789 0.21311 -0.08469 C 0.22289 -0.08978 0.23346 -0.09602 0.24372 -0.09834 C 0.2567 -0.10459 0.26967 -0.11106 0.28249 -0.11777 C 0.299 -0.12633 0.31326 -0.13837 0.33088 -0.14346 C 0.33377 -0.14554 0.33681 -0.14623 0.33986 -0.14808 C 0.34146 -0.14901 0.34498 -0.15086 0.34498 -0.15086 " pathEditMode="relative" ptsTypes="fffffffffffA">
                                      <p:cBhvr>
                                        <p:cTn id="10" dur="2000" fill="hold"/>
                                        <p:tgtEl>
                                          <p:spTgt spid="40"/>
                                        </p:tgtEl>
                                        <p:attrNameLst>
                                          <p:attrName>ppt_x</p:attrName>
                                          <p:attrName>ppt_y</p:attrName>
                                        </p:attrNameLst>
                                      </p:cBhvr>
                                    </p:animMotion>
                                  </p:childTnLst>
                                </p:cTn>
                              </p:par>
                              <p:par>
                                <p:cTn id="11" presetID="0" presetClass="path" presetSubtype="0" accel="50000" decel="50000" fill="hold" nodeType="withEffect">
                                  <p:stCondLst>
                                    <p:cond delay="2000"/>
                                  </p:stCondLst>
                                  <p:childTnLst>
                                    <p:animMotion origin="layout" path="M 1.84586E-6 5.49745E-6 C -0.02388 -0.00878 -0.04583 -0.02359 -0.07067 -0.02683 C -0.09646 -0.03562 -0.12178 -0.04372 -0.14822 -0.04789 C -0.15334 -0.04881 -0.15847 -0.04904 -0.1636 -0.04974 C -0.16889 -0.05043 -0.17946 -0.05159 -0.17946 -0.05159 C -0.18523 -0.05298 -0.18699 -0.05784 -0.19212 -0.06084 C -0.19468 -0.06802 -0.20302 -0.07287 -0.20302 -0.0819 " pathEditMode="relative" ptsTypes="ffffffA">
                                      <p:cBhvr>
                                        <p:cTn id="12" dur="2000" fill="hold"/>
                                        <p:tgtEl>
                                          <p:spTgt spid="35"/>
                                        </p:tgtEl>
                                        <p:attrNameLst>
                                          <p:attrName>ppt_x</p:attrName>
                                          <p:attrName>ppt_y</p:attrName>
                                        </p:attrNameLst>
                                      </p:cBhvr>
                                    </p:animMotion>
                                  </p:childTnLst>
                                </p:cTn>
                              </p:par>
                              <p:par>
                                <p:cTn id="13" presetID="0" presetClass="path" presetSubtype="0" accel="50000" decel="50000" fill="hold" nodeType="withEffect">
                                  <p:stCondLst>
                                    <p:cond delay="2000"/>
                                  </p:stCondLst>
                                  <p:childTnLst>
                                    <p:animMotion origin="layout" path="M 4.38391E-6 6.39981E-6 C 0.01202 0.00348 0.01426 0.00533 0.02419 0.01551 C 0.03028 0.02199 0.03861 0.02453 0.04454 0.03124 C 0.05079 0.03818 0.0431 0.03171 0.05031 0.03865 C 0.0548 0.04304 0.05351 0.03772 0.05976 0.04675 C 0.06281 0.05114 0.06121 0.04998 0.06425 0.05137 C 0.06906 0.05831 0.07402 0.06387 0.07883 0.07081 C 0.08252 0.07613 0.0854 0.08284 0.08909 0.08816 C 0.09165 0.09186 0.0955 0.09464 0.09806 0.09834 C 0.10367 0.10667 0.10799 0.1106 0.1152 0.11569 C 0.11857 0.11801 0.11681 0.1194 0.12209 0.12125 C 0.13539 0.12611 0.15158 0.12402 0.16488 0.12402 " pathEditMode="relative" ptsTypes="fffffffffffA">
                                      <p:cBhvr>
                                        <p:cTn id="14" dur="2000" fill="hold"/>
                                        <p:tgtEl>
                                          <p:spTgt spid="39"/>
                                        </p:tgtEl>
                                        <p:attrNameLst>
                                          <p:attrName>ppt_x</p:attrName>
                                          <p:attrName>ppt_y</p:attrName>
                                        </p:attrNameLst>
                                      </p:cBhvr>
                                    </p:animMotion>
                                  </p:childTnLst>
                                </p:cTn>
                              </p:par>
                              <p:par>
                                <p:cTn id="15" presetID="0" presetClass="path" presetSubtype="0" accel="50000" decel="50000" fill="hold" nodeType="withEffect">
                                  <p:stCondLst>
                                    <p:cond delay="2000"/>
                                  </p:stCondLst>
                                  <p:childTnLst>
                                    <p:animMotion origin="layout" path="M 4.38391E-6 5.22906E-7 C -0.01282 0.0037 0.00448 -0.00093 -0.02997 0.00185 C -0.04951 0.00347 -0.06842 0.0148 -0.08781 0.01851 C -0.0931 0.02105 -0.09887 0.0229 -0.10447 0.02406 C -0.11184 0.02822 -0.12146 0.03146 -0.12931 0.03308 C -0.15126 0.04419 -0.17722 0.04928 -0.19997 0.05715 C -0.21631 0.0627 -0.23202 0.07357 -0.24884 0.07728 C -0.27015 0.08746 -0.30028 0.09208 -0.32271 0.09393 C -0.35091 0.09347 -0.36212 0.09324 -0.38456 0.08931 C -0.39113 0.08676 -0.39882 0.0863 -0.40491 0.0819 " pathEditMode="relative" ptsTypes="fffffffffA">
                                      <p:cBhvr>
                                        <p:cTn id="16" dur="2000" fill="hold"/>
                                        <p:tgtEl>
                                          <p:spTgt spid="37"/>
                                        </p:tgtEl>
                                        <p:attrNameLst>
                                          <p:attrName>ppt_x</p:attrName>
                                          <p:attrName>ppt_y</p:attrName>
                                        </p:attrNameLst>
                                      </p:cBhvr>
                                    </p:animMotion>
                                  </p:childTnLst>
                                </p:cTn>
                              </p:par>
                              <p:par>
                                <p:cTn id="17" presetID="0" presetClass="path" presetSubtype="0" accel="50000" decel="50000" fill="hold" nodeType="withEffect">
                                  <p:stCondLst>
                                    <p:cond delay="2000"/>
                                  </p:stCondLst>
                                  <p:childTnLst>
                                    <p:animMotion origin="layout" path="M 7.7071E-7 2.65618E-6 C 0.00481 -0.00925 0.00785 -0.02152 0.0109 -0.03216 C 0.01426 -0.04419 0.01987 -0.05553 0.02484 -0.06617 C 0.02692 -0.0708 0.02868 -0.07612 0.03125 -0.08006 C 0.04246 -0.09741 0.0548 -0.1025 0.06746 -0.11592 C 0.07451 -0.12355 0.08204 -0.13281 0.08797 -0.14253 C 0.09101 -0.14762 0.09261 -0.15456 0.09614 -0.15919 C 0.09886 -0.16266 0.10255 -0.16451 0.10511 -0.16821 C 0.11216 -0.17839 0.11985 -0.18834 0.1261 -0.19944 C 0.12722 -0.20615 0.12626 -0.20222 0.13059 -0.21055 C 0.13379 -0.21657 0.13556 -0.22466 0.1394 -0.22975 C 0.1418 -0.2367 0.14517 -0.24572 0.14517 -0.25382 " pathEditMode="relative" ptsTypes="fffffffffffA">
                                      <p:cBhvr>
                                        <p:cTn id="18" dur="2000" fill="hold"/>
                                        <p:tgtEl>
                                          <p:spTgt spid="36"/>
                                        </p:tgtEl>
                                        <p:attrNameLst>
                                          <p:attrName>ppt_x</p:attrName>
                                          <p:attrName>ppt_y</p:attrName>
                                        </p:attrNameLst>
                                      </p:cBhvr>
                                    </p:animMotion>
                                  </p:childTnLst>
                                </p:cTn>
                              </p:par>
                              <p:par>
                                <p:cTn id="19" presetID="0" presetClass="path" presetSubtype="0" accel="50000" decel="50000" fill="hold" nodeType="withEffect">
                                  <p:stCondLst>
                                    <p:cond delay="2000"/>
                                  </p:stCondLst>
                                  <p:childTnLst>
                                    <p:animMotion origin="layout" path="M -1.07515E-6 -6.11291E-6 C -0.00256 -0.01088 -0.00112 -0.02361 -0.0032 -0.03495 C -0.00593 -0.04929 -0.01057 -0.06294 -0.0133 -0.07729 C -0.0157 -0.09001 -0.01682 -0.10366 -0.01842 -0.11662 C -0.0189 -0.14207 -0.01858 -0.16775 -0.02035 -0.19297 C -0.02051 -0.20686 -0.02067 -0.22051 -0.02099 -0.23439 C -0.02115 -0.24226 -0.02211 -0.25822 -0.02916 -0.25822 " pathEditMode="relative" ptsTypes="ffffffA">
                                      <p:cBhvr>
                                        <p:cTn id="20" dur="2000" fill="hold"/>
                                        <p:tgtEl>
                                          <p:spTgt spid="30"/>
                                        </p:tgtEl>
                                        <p:attrNameLst>
                                          <p:attrName>ppt_x</p:attrName>
                                          <p:attrName>ppt_y</p:attrName>
                                        </p:attrNameLst>
                                      </p:cBhvr>
                                    </p:animMotion>
                                  </p:childTnLst>
                                </p:cTn>
                              </p:par>
                              <p:par>
                                <p:cTn id="21" presetID="0" presetClass="path" presetSubtype="0" accel="50000" decel="50000" fill="hold" nodeType="withEffect">
                                  <p:stCondLst>
                                    <p:cond delay="2000"/>
                                  </p:stCondLst>
                                  <p:childTnLst>
                                    <p:animMotion origin="layout" path="M -0.00641 0.02175 C 0.04022 0.02314 0.08685 0.02661 0.13363 0.02962 C 0.14597 0.03263 0.15831 0.03355 0.17065 0.03772 " pathEditMode="relative" rAng="0" ptsTypes="fff">
                                      <p:cBhvr>
                                        <p:cTn id="22" dur="2000" fill="hold"/>
                                        <p:tgtEl>
                                          <p:spTgt spid="29"/>
                                        </p:tgtEl>
                                        <p:attrNameLst>
                                          <p:attrName>ppt_x</p:attrName>
                                          <p:attrName>ppt_y</p:attrName>
                                        </p:attrNameLst>
                                      </p:cBhvr>
                                      <p:rCtr x="8845" y="787"/>
                                    </p:animMotion>
                                  </p:childTnLst>
                                </p:cTn>
                              </p:par>
                              <p:par>
                                <p:cTn id="23" presetID="0" presetClass="path" presetSubtype="0" accel="50000" decel="50000" fill="hold" nodeType="withEffect">
                                  <p:stCondLst>
                                    <p:cond delay="2000"/>
                                  </p:stCondLst>
                                  <p:childTnLst>
                                    <p:animMotion origin="layout" path="M -1.34273E-6 -4.43776E-6 C -0.00272 -0.01203 -0.00977 -0.01851 -0.0157 -0.0266 C -0.02419 -0.03771 -0.03317 -0.04673 -0.04182 -0.05691 C -0.04759 -0.06362 -0.05223 -0.07242 -0.05912 -0.07612 C -0.06441 -0.0826 -0.0705 -0.0856 -0.07691 -0.08815 C -0.09149 -0.08792 -0.10591 -0.08792 -0.12033 -0.08722 C -0.12626 -0.08699 -0.13828 -0.08537 -0.13828 -0.08514 C -0.166 -0.08607 -0.19067 -0.08931 -0.21775 -0.09463 C -0.22128 -0.09648 -0.22496 -0.09787 -0.22849 -0.09926 C -0.23057 -0.10018 -0.23458 -0.10111 -0.23458 -0.10087 C -0.24259 -0.10643 -0.2522 -0.10782 -0.25989 -0.11568 C -0.26935 -0.12517 -0.27976 -0.13142 -0.28922 -0.14067 C -0.31021 -0.16126 -0.33007 -0.1844 -0.34738 -0.21124 C -0.36404 -0.23692 -0.38407 -0.25798 -0.39689 -0.28944 C -0.39705 -0.29245 -0.39721 -0.29569 -0.39721 -0.2987 C -0.39721 -0.30263 -0.39689 -0.3105 -0.39689 -0.31027 " pathEditMode="relative" rAng="0" ptsTypes="fffffffffffffffA">
                                      <p:cBhvr>
                                        <p:cTn id="24" dur="2000" fill="hold"/>
                                        <p:tgtEl>
                                          <p:spTgt spid="28"/>
                                        </p:tgtEl>
                                        <p:attrNameLst>
                                          <p:attrName>ppt_x</p:attrName>
                                          <p:attrName>ppt_y</p:attrName>
                                        </p:attrNameLst>
                                      </p:cBhvr>
                                      <p:rCtr x="-19869" y="-15525"/>
                                    </p:animMotion>
                                  </p:childTnLst>
                                </p:cTn>
                              </p:par>
                              <p:par>
                                <p:cTn id="25" presetID="0" presetClass="path" presetSubtype="0" accel="50000" decel="50000" fill="hold" nodeType="withEffect">
                                  <p:stCondLst>
                                    <p:cond delay="2000"/>
                                  </p:stCondLst>
                                  <p:childTnLst>
                                    <p:animMotion origin="layout" path="M -2.07659E-6 -3.28552E-7 C -0.00064 -0.00232 -0.0008 -0.00741 -0.00192 -0.00903 C -0.00384 -0.0118 -0.00769 -0.01366 -0.01025 -0.01458 C -0.0165 -0.02175 -0.02451 -0.02592 -0.03188 -0.03031 C -0.05271 -0.04281 -0.07226 -0.04975 -0.09485 -0.05137 C -0.14084 -0.05068 -0.18522 -0.04975 -0.23105 -0.05044 C -0.23506 -0.0516 -0.23313 -0.05137 -0.23682 -0.05137 " pathEditMode="relative" ptsTypes="ffffffA">
                                      <p:cBhvr>
                                        <p:cTn id="26" dur="2000" fill="hold"/>
                                        <p:tgtEl>
                                          <p:spTgt spid="27"/>
                                        </p:tgtEl>
                                        <p:attrNameLst>
                                          <p:attrName>ppt_x</p:attrName>
                                          <p:attrName>ppt_y</p:attrName>
                                        </p:attrNameLst>
                                      </p:cBhvr>
                                    </p:animMotion>
                                  </p:childTnLst>
                                </p:cTn>
                              </p:par>
                              <p:par>
                                <p:cTn id="27" presetID="0" presetClass="path" presetSubtype="0" accel="50000" decel="50000" fill="hold" nodeType="withEffect">
                                  <p:stCondLst>
                                    <p:cond delay="2000"/>
                                  </p:stCondLst>
                                  <p:childTnLst>
                                    <p:animMotion origin="layout" path="M -2.99952E-6 -8.51458E-7 C -0.00192 -0.00833 0.00032 0.00209 -0.00128 -0.01827 C -0.00208 -0.02915 -0.00576 -0.03933 -0.00576 -0.05044 " pathEditMode="relative" ptsTypes="ffA">
                                      <p:cBhvr>
                                        <p:cTn id="28" dur="2000" fill="hold"/>
                                        <p:tgtEl>
                                          <p:spTgt spid="26"/>
                                        </p:tgtEl>
                                        <p:attrNameLst>
                                          <p:attrName>ppt_x</p:attrName>
                                          <p:attrName>ppt_y</p:attrName>
                                        </p:attrNameLst>
                                      </p:cBhvr>
                                    </p:animMotion>
                                  </p:childTnLst>
                                </p:cTn>
                              </p:par>
                              <p:par>
                                <p:cTn id="29" presetID="0" presetClass="path" presetSubtype="0" accel="50000" decel="50000" fill="hold" nodeType="withEffect">
                                  <p:stCondLst>
                                    <p:cond delay="2000"/>
                                  </p:stCondLst>
                                  <p:childTnLst>
                                    <p:animMotion origin="layout" path="M -4.46243E-6 -2.60528E-6 C 0.00657 -0.00647 0.0141 -0.01064 0.02115 -0.0155 C 0.02932 -0.02105 0.03638 -0.02753 0.04519 -0.03123 C 0.05496 -0.0354 0.06538 -0.03609 0.07515 -0.04025 C 0.09246 -0.04789 0.11008 -0.0546 0.12739 -0.06247 C 0.13251 -0.06478 0.13636 -0.06964 0.14133 -0.07242 C 0.14854 -0.07658 0.15783 -0.07913 0.16424 -0.0863 C 0.16696 -0.08931 0.16937 -0.09324 0.17193 -0.09648 C 0.17401 -0.09902 0.1769 -0.09995 0.17898 -0.10273 C 0.18283 -0.10782 0.18475 -0.11244 0.18972 -0.11476 C 0.19276 -0.12147 0.18875 -0.1136 0.19356 -0.11938 C 0.1942 -0.12008 0.19484 -0.12216 0.19484 -0.12216 " pathEditMode="relative" ptsTypes="fffffffffffA">
                                      <p:cBhvr>
                                        <p:cTn id="30" dur="2000" fill="hold"/>
                                        <p:tgtEl>
                                          <p:spTgt spid="34"/>
                                        </p:tgtEl>
                                        <p:attrNameLst>
                                          <p:attrName>ppt_x</p:attrName>
                                          <p:attrName>ppt_y</p:attrName>
                                        </p:attrNameLst>
                                      </p:cBhvr>
                                    </p:animMotion>
                                  </p:childTnLst>
                                </p:cTn>
                              </p:par>
                              <p:par>
                                <p:cTn id="31" presetID="0" presetClass="path" presetSubtype="0" accel="50000" decel="50000" fill="hold" nodeType="withEffect">
                                  <p:stCondLst>
                                    <p:cond delay="2000"/>
                                  </p:stCondLst>
                                  <p:childTnLst>
                                    <p:animMotion origin="layout" path="M 2.64861E-6 -3.66497E-6 C 0.02051 0.00139 0.04038 0.00324 0.0604 0.00903 C 0.06842 0.01134 0.08043 0.01296 0.08652 0.02036 C 0.09197 0.02684 0.08492 0.01898 0.09405 0.02661 C 0.10062 0.0324 0.10655 0.03911 0.11232 0.04582 C 0.11584 0.04975 0.12081 0.05299 0.1245 0.05715 C 0.13571 0.06918 0.14437 0.08446 0.1575 0.0944 C 0.16183 0.09764 0.166 0.09857 0.17032 0.10158 C 0.17657 0.10551 0.18298 0.11083 0.19003 0.11268 C 0.20189 0.12171 0.21839 0.11986 0.23185 0.11986 C 0.29338 0.12009 0.35475 0.11986 0.41628 0.11986 " pathEditMode="relative" rAng="0" ptsTypes="ffffffffffA">
                                      <p:cBhvr>
                                        <p:cTn id="32" dur="2000" fill="hold"/>
                                        <p:tgtEl>
                                          <p:spTgt spid="33"/>
                                        </p:tgtEl>
                                        <p:attrNameLst>
                                          <p:attrName>ppt_x</p:attrName>
                                          <p:attrName>ppt_y</p:attrName>
                                        </p:attrNameLst>
                                      </p:cBhvr>
                                      <p:rCtr x="20814" y="6085"/>
                                    </p:animMotion>
                                  </p:childTnLst>
                                </p:cTn>
                              </p:par>
                              <p:par>
                                <p:cTn id="33" presetID="0" presetClass="path" presetSubtype="0" accel="50000" decel="50000" fill="hold" nodeType="withEffect">
                                  <p:stCondLst>
                                    <p:cond delay="2000"/>
                                  </p:stCondLst>
                                  <p:childTnLst>
                                    <p:animMotion origin="layout" path="M 2.64861E-6 -4.84498E-6 C -0.02163 -0.00069 -0.04326 -0.00092 -0.0649 -0.003 C -0.07323 -0.00509 -0.08156 -0.00902 -0.08989 -0.01018 C -0.0939 -0.01226 -0.09806 -0.01318 -0.10207 -0.01596 C -0.10688 -0.0192 -0.112 -0.02383 -0.11729 -0.02591 C -0.1213 -0.02961 -0.12562 -0.03331 -0.12963 -0.03678 C -0.13059 -0.03771 -0.13187 -0.03771 -0.13283 -0.0384 C -0.13428 -0.03933 -0.1354 -0.04049 -0.13668 -0.04187 C -0.14693 -0.05182 -0.15671 -0.0627 -0.16728 -0.07265 C -0.18395 -0.08838 -0.19869 -0.09949 -0.19869 -0.12586 " pathEditMode="relative" rAng="0" ptsTypes="fffffffffA">
                                      <p:cBhvr>
                                        <p:cTn id="34" dur="2000" fill="hold"/>
                                        <p:tgtEl>
                                          <p:spTgt spid="32"/>
                                        </p:tgtEl>
                                        <p:attrNameLst>
                                          <p:attrName>ppt_x</p:attrName>
                                          <p:attrName>ppt_y</p:attrName>
                                        </p:attrNameLst>
                                      </p:cBhvr>
                                      <p:rCtr x="-9934" y="-6293"/>
                                    </p:animMotion>
                                  </p:childTnLst>
                                </p:cTn>
                              </p:par>
                              <p:par>
                                <p:cTn id="35" presetID="0" presetClass="path" presetSubtype="0" accel="50000" decel="50000" fill="hold" nodeType="withEffect">
                                  <p:stCondLst>
                                    <p:cond delay="2000"/>
                                  </p:stCondLst>
                                  <p:childTnLst>
                                    <p:animMotion origin="layout" path="M -6.30828E-6 -2.74873E-6 C -0.00225 -0.00486 -0.00145 -0.01018 -0.00241 -0.01573 C -0.00225 -0.05738 -0.00209 -0.09902 -0.00177 -0.14067 C -0.00177 -0.14738 -0.00129 -0.15455 0.00128 -0.16011 C 0.00257 -0.16728 0.00736 -0.17168 0.00897 -0.17839 C 0.01025 -0.18394 0.01185 -0.19019 0.01409 -0.19504 C 0.01506 -0.20245 0.01473 -0.19944 0.01538 -0.2087 C 0.01554 -0.2117 0.0157 -0.21494 0.01602 -0.21795 C 0.01618 -0.21957 0.01666 -0.22258 0.01666 -0.22258 " pathEditMode="relative" ptsTypes="ffffffffA">
                                      <p:cBhvr>
                                        <p:cTn id="36" dur="2000" fill="hold"/>
                                        <p:tgtEl>
                                          <p:spTgt spid="31"/>
                                        </p:tgtEl>
                                        <p:attrNameLst>
                                          <p:attrName>ppt_x</p:attrName>
                                          <p:attrName>ppt_y</p:attrName>
                                        </p:attrNameLst>
                                      </p:cBhvr>
                                    </p:animMotion>
                                  </p:childTnLst>
                                </p:cTn>
                              </p:par>
                              <p:par>
                                <p:cTn id="37" presetID="0" presetClass="path" presetSubtype="0" accel="50000" decel="50000" fill="hold" nodeType="withEffect">
                                  <p:stCondLst>
                                    <p:cond delay="2000"/>
                                  </p:stCondLst>
                                  <p:childTnLst>
                                    <p:animMotion origin="layout" path="M -4.61465E-6 -4.22027E-6 C 0.00497 -0.00231 0.01122 -0.00277 0.01651 -0.0037 C 0.0274 -0.00994 0.04278 -0.00902 0.05416 -0.01018 C 0.07868 -0.01642 0.10207 -0.02614 0.1261 -0.03493 C 0.15815 -0.0465 0.19308 -0.04997 0.22593 -0.05344 C 0.23763 -0.05645 0.24932 -0.05784 0.26102 -0.06154 C 0.26855 -0.06409 0.2756 -0.06779 0.28329 -0.06987 C 0.29739 -0.08005 0.31005 -0.08607 0.32271 -0.10018 C 0.33328 -0.11198 0.34226 -0.12957 0.34947 -0.1453 C 0.35267 -0.15224 0.35507 -0.15964 0.35844 -0.16635 C 0.35876 -0.1682 0.36132 -0.17561 0.36212 -0.17561 " pathEditMode="relative" ptsTypes="ffffffffffA">
                                      <p:cBhvr>
                                        <p:cTn id="38" dur="2000" fill="hold"/>
                                        <p:tgtEl>
                                          <p:spTgt spid="25"/>
                                        </p:tgtEl>
                                        <p:attrNameLst>
                                          <p:attrName>ppt_x</p:attrName>
                                          <p:attrName>ppt_y</p:attrName>
                                        </p:attrNameLst>
                                      </p:cBhvr>
                                    </p:animMotion>
                                  </p:childTnLst>
                                </p:cTn>
                              </p:par>
                              <p:par>
                                <p:cTn id="39" presetID="0" presetClass="path" presetSubtype="0" accel="50000" decel="50000" fill="hold" nodeType="withEffect">
                                  <p:stCondLst>
                                    <p:cond delay="2000"/>
                                  </p:stCondLst>
                                  <p:childTnLst>
                                    <p:animMotion origin="layout" path="M 2.61657E-6 2.51273E-6 C 0.0173 0.00347 0.00929 0.00231 0.02419 0.0037 C 0.02964 0.00532 0.03525 0.00648 0.04069 0.0074 C 0.04566 0.00925 0.04951 0.01134 0.05415 0.01365 C 0.06088 0.02105 0.07146 0.02453 0.07963 0.02753 C 0.08332 0.0317 0.08732 0.0317 0.09165 0.03494 C 0.09678 0.03864 0.1019 0.0428 0.10751 0.04419 C 0.11456 0.04951 0.12001 0.05136 0.12674 0.05599 C 0.13235 0.05993 0.13699 0.06386 0.14324 0.06525 C 0.14805 0.06987 0.15446 0.07011 0.15975 0.07358 C 0.16439 0.07658 0.16856 0.08167 0.17321 0.08445 C 0.18554 0.09186 0.19564 0.09602 0.20878 0.09741 C 0.24355 0.09579 0.27768 0.09301 0.31196 0.08538 C 0.32911 0.08167 0.34641 0.0782 0.3634 0.07358 C 0.36885 0.07196 0.37397 0.06918 0.37942 0.06802 C 0.38535 0.06247 0.39272 0.06062 0.39913 0.05599 C 0.40105 0.0546 0.40298 0.05368 0.4049 0.05229 C 0.40618 0.05136 0.40858 0.04951 0.40858 0.04951 " pathEditMode="relative" ptsTypes="fffffffffffffffffA">
                                      <p:cBhvr>
                                        <p:cTn id="40" dur="2000" fill="hold"/>
                                        <p:tgtEl>
                                          <p:spTgt spid="24"/>
                                        </p:tgtEl>
                                        <p:attrNameLst>
                                          <p:attrName>ppt_x</p:attrName>
                                          <p:attrName>ppt_y</p:attrName>
                                        </p:attrNameLst>
                                      </p:cBhvr>
                                    </p:animMotion>
                                  </p:childTnLst>
                                </p:cTn>
                              </p:par>
                              <p:par>
                                <p:cTn id="41" presetID="0" presetClass="path" presetSubtype="0" accel="50000" decel="50000" fill="hold" nodeType="withEffect">
                                  <p:stCondLst>
                                    <p:cond delay="2000"/>
                                  </p:stCondLst>
                                  <p:childTnLst>
                                    <p:animMotion origin="layout" path="M -4.61465E-6 -7.58908E-7 C -0.01522 0.0037 -0.02868 0.01203 -0.04326 0.01827 C -0.05319 0.02267 -0.06313 0.02267 -0.07322 0.02568 C -0.10543 0.02545 -0.13764 0.02568 -0.16984 0.02475 C -0.17737 0.02452 -0.19788 0.01735 -0.20365 0.00902 " pathEditMode="relative" ptsTypes="ffffA">
                                      <p:cBhvr>
                                        <p:cTn id="42" dur="2000" fill="hold"/>
                                        <p:tgtEl>
                                          <p:spTgt spid="22"/>
                                        </p:tgtEl>
                                        <p:attrNameLst>
                                          <p:attrName>ppt_x</p:attrName>
                                          <p:attrName>ppt_y</p:attrName>
                                        </p:attrNameLst>
                                      </p:cBhvr>
                                    </p:animMotion>
                                  </p:childTnLst>
                                </p:cTn>
                              </p:par>
                              <p:par>
                                <p:cTn id="43" presetID="0" presetClass="path" presetSubtype="0" accel="50000" decel="50000" fill="hold" nodeType="withEffect">
                                  <p:stCondLst>
                                    <p:cond delay="2000"/>
                                  </p:stCondLst>
                                  <p:childTnLst>
                                    <p:animMotion origin="layout" path="M -9.22929E-7 7.58908E-7 C -0.04807 -0.00046 -0.09165 -0.00069 -0.13812 -0.00555 C -0.16776 -0.01342 -0.1958 -0.02476 -0.224 -0.04049 C -0.23538 -0.04674 -0.25124 -0.05599 -0.25958 -0.06802 C -0.2655 -0.07658 -0.2732 -0.08376 -0.2788 -0.09278 C -0.28569 -0.10389 -0.29114 -0.11684 -0.29723 -0.12864 C -0.30124 -0.14623 -0.30861 -0.16358 -0.31437 -0.18024 C -0.32591 -0.21379 -0.33793 -0.24711 -0.34946 -0.28043 " pathEditMode="relative" ptsTypes="fffffffA">
                                      <p:cBhvr>
                                        <p:cTn id="44" dur="2000" fill="hold"/>
                                        <p:tgtEl>
                                          <p:spTgt spid="21"/>
                                        </p:tgtEl>
                                        <p:attrNameLst>
                                          <p:attrName>ppt_x</p:attrName>
                                          <p:attrName>ppt_y</p:attrName>
                                        </p:attrNameLst>
                                      </p:cBhvr>
                                    </p:animMotion>
                                  </p:childTnLst>
                                </p:cTn>
                              </p:par>
                              <p:par>
                                <p:cTn id="45" presetID="0" presetClass="path" presetSubtype="0" accel="50000" decel="50000" fill="hold" nodeType="withEffect">
                                  <p:stCondLst>
                                    <p:cond delay="2000"/>
                                  </p:stCondLst>
                                  <p:childTnLst>
                                    <p:animMotion origin="layout" path="M 1.76734E-6 5.49745E-6 C -0.00369 -0.00254 -0.00849 -0.00554 -0.01266 -0.00624 C -0.01795 -0.00693 -0.02868 -0.00809 -0.02868 -0.00809 C -0.04839 -0.01619 -0.07002 -0.01318 -0.09037 -0.01457 C -0.12226 -0.01364 -0.15398 -0.01225 -0.18587 -0.00994 C -0.19468 -0.00855 -0.20317 -0.00786 -0.21199 -0.00716 C -0.21888 -0.00601 -0.22545 -0.00369 -0.23233 -0.00254 C -0.25284 0.00602 -0.27399 0.01343 -0.29402 0.025 C -0.29723 0.02685 -0.30011 0.03032 -0.30364 0.03124 C -0.3062 0.03194 -0.3078 0.03217 -0.31005 0.03402 C -0.31437 0.03772 -0.31774 0.04328 -0.32271 0.04513 C -0.32831 0.05137 -0.33488 0.05508 -0.34113 0.05993 C -0.34914 0.06618 -0.35651 0.07405 -0.36469 0.08006 C -0.36741 0.08215 -0.37334 0.09117 -0.37494 0.09117 " pathEditMode="relative" ptsTypes="fffffffffffffA">
                                      <p:cBhvr>
                                        <p:cTn id="46" dur="2000" fill="hold"/>
                                        <p:tgtEl>
                                          <p:spTgt spid="38"/>
                                        </p:tgtEl>
                                        <p:attrNameLst>
                                          <p:attrName>ppt_x</p:attrName>
                                          <p:attrName>ppt_y</p:attrName>
                                        </p:attrNameLst>
                                      </p:cBhvr>
                                    </p:animMotion>
                                  </p:childTnLst>
                                </p:cTn>
                              </p:par>
                              <p:par>
                                <p:cTn id="47" presetID="0" presetClass="path" presetSubtype="0" accel="50000" decel="50000" fill="hold" nodeType="withEffect">
                                  <p:stCondLst>
                                    <p:cond delay="2000"/>
                                  </p:stCondLst>
                                  <p:childTnLst>
                                    <p:animMotion origin="layout" path="M -2.8473E-6 1.13836E-6 C -0.00417 0.00393 -0.00785 0.00532 -0.00961 0.01296 C -0.00993 0.01967 -0.0125 0.03401 -0.00769 0.03864 C -0.00449 0.04558 -0.00609 0.04234 -0.0032 0.0479 C -0.00192 0.05322 -0.00304 0.04998 0.00112 0.05623 C 0.00176 0.05715 0.00304 0.05877 0.00304 0.05877 " pathEditMode="relative" ptsTypes="fffffA">
                                      <p:cBhvr>
                                        <p:cTn id="48" dur="2000" fill="hold"/>
                                        <p:tgtEl>
                                          <p:spTgt spid="23"/>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a:xfrm>
            <a:off x="4300833" y="4099035"/>
            <a:ext cx="2408971" cy="2287932"/>
            <a:chOff x="2263928" y="1256378"/>
            <a:chExt cx="5178086" cy="5124282"/>
          </a:xfrm>
        </p:grpSpPr>
        <p:sp>
          <p:nvSpPr>
            <p:cNvPr id="6" name="Rechteck 5"/>
            <p:cNvSpPr/>
            <p:nvPr/>
          </p:nvSpPr>
          <p:spPr>
            <a:xfrm rot="18873811">
              <a:off x="4980038" y="2644746"/>
              <a:ext cx="1980760"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7" name="Rechteck 6"/>
            <p:cNvSpPr/>
            <p:nvPr/>
          </p:nvSpPr>
          <p:spPr>
            <a:xfrm rot="2726189" flipH="1">
              <a:off x="4991078" y="4868860"/>
              <a:ext cx="1980760"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8" name="Rechteck 7"/>
            <p:cNvSpPr/>
            <p:nvPr/>
          </p:nvSpPr>
          <p:spPr>
            <a:xfrm flipH="1">
              <a:off x="5443515" y="3747234"/>
              <a:ext cx="1998499" cy="6293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9" name="Rechteck 8"/>
            <p:cNvSpPr/>
            <p:nvPr/>
          </p:nvSpPr>
          <p:spPr>
            <a:xfrm rot="16200000" flipH="1">
              <a:off x="3828897" y="2214850"/>
              <a:ext cx="1980758" cy="638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10" name="Rechteck 9"/>
            <p:cNvSpPr/>
            <p:nvPr/>
          </p:nvSpPr>
          <p:spPr>
            <a:xfrm rot="16200000" flipH="1">
              <a:off x="3842453" y="5358374"/>
              <a:ext cx="1980759" cy="638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11" name="Rechteck 10"/>
            <p:cNvSpPr/>
            <p:nvPr/>
          </p:nvSpPr>
          <p:spPr>
            <a:xfrm rot="2726189" flipH="1">
              <a:off x="2722599" y="2644746"/>
              <a:ext cx="1980760"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12" name="Rechteck 11"/>
            <p:cNvSpPr/>
            <p:nvPr/>
          </p:nvSpPr>
          <p:spPr>
            <a:xfrm rot="18873811">
              <a:off x="2711559" y="4868860"/>
              <a:ext cx="1980760" cy="638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13" name="Rechteck 12"/>
            <p:cNvSpPr/>
            <p:nvPr/>
          </p:nvSpPr>
          <p:spPr>
            <a:xfrm>
              <a:off x="2263928" y="3766824"/>
              <a:ext cx="1998499" cy="6293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grpSp>
      <p:pic>
        <p:nvPicPr>
          <p:cNvPr id="14" name="Grafik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60749" y="2389166"/>
            <a:ext cx="2672379" cy="4175592"/>
          </a:xfrm>
          <a:prstGeom prst="rect">
            <a:avLst/>
          </a:prstGeom>
        </p:spPr>
      </p:pic>
      <p:sp>
        <p:nvSpPr>
          <p:cNvPr id="3" name="Foliennummernplatzhalter 2"/>
          <p:cNvSpPr>
            <a:spLocks noGrp="1"/>
          </p:cNvSpPr>
          <p:nvPr>
            <p:ph type="sldNum" sz="quarter" idx="12"/>
          </p:nvPr>
        </p:nvSpPr>
        <p:spPr/>
        <p:txBody>
          <a:bodyPr/>
          <a:lstStyle/>
          <a:p>
            <a:fld id="{4AD1E780-DE1C-4ECA-B5E5-863D0BC53287}" type="slidenum">
              <a:rPr lang="de-DE" smtClean="0"/>
              <a:pPr/>
              <a:t>54</a:t>
            </a:fld>
            <a:endParaRPr lang="de-DE" dirty="0"/>
          </a:p>
        </p:txBody>
      </p:sp>
      <p:sp>
        <p:nvSpPr>
          <p:cNvPr id="4" name="Inhaltsplatzhalter 2"/>
          <p:cNvSpPr txBox="1">
            <a:spLocks/>
          </p:cNvSpPr>
          <p:nvPr/>
        </p:nvSpPr>
        <p:spPr>
          <a:xfrm>
            <a:off x="419031" y="1692735"/>
            <a:ext cx="9160097"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3200" dirty="0" smtClean="0">
                <a:solidFill>
                  <a:schemeClr val="accent2"/>
                </a:solidFill>
                <a:latin typeface="Arial" panose="020B0604020202020204" pitchFamily="34" charset="0"/>
                <a:cs typeface="Arial" panose="020B0604020202020204" pitchFamily="34" charset="0"/>
              </a:rPr>
              <a:t>Finally, </a:t>
            </a:r>
            <a:r>
              <a:rPr lang="en-US" sz="3200" b="1" dirty="0" smtClean="0">
                <a:solidFill>
                  <a:schemeClr val="accent2"/>
                </a:solidFill>
                <a:latin typeface="Arial" panose="020B0604020202020204" pitchFamily="34" charset="0"/>
                <a:cs typeface="Arial" panose="020B0604020202020204" pitchFamily="34" charset="0"/>
              </a:rPr>
              <a:t>open access </a:t>
            </a:r>
            <a:r>
              <a:rPr lang="en-US" sz="3200" dirty="0" smtClean="0">
                <a:solidFill>
                  <a:schemeClr val="accent2"/>
                </a:solidFill>
                <a:latin typeface="Arial" panose="020B0604020202020204" pitchFamily="34" charset="0"/>
                <a:cs typeface="Arial" panose="020B0604020202020204" pitchFamily="34" charset="0"/>
              </a:rPr>
              <a:t>on a </a:t>
            </a:r>
            <a:r>
              <a:rPr lang="en-US" sz="3200" b="1" dirty="0" smtClean="0">
                <a:solidFill>
                  <a:schemeClr val="accent2"/>
                </a:solidFill>
                <a:latin typeface="Arial" panose="020B0604020202020204" pitchFamily="34" charset="0"/>
                <a:cs typeface="Arial" panose="020B0604020202020204" pitchFamily="34" charset="0"/>
              </a:rPr>
              <a:t>large-scale</a:t>
            </a:r>
            <a:r>
              <a:rPr lang="en-US" sz="3200" dirty="0" smtClean="0">
                <a:solidFill>
                  <a:schemeClr val="accent2"/>
                </a:solidFill>
                <a:latin typeface="Arial" panose="020B0604020202020204" pitchFamily="34" charset="0"/>
                <a:cs typeface="Arial" panose="020B0604020202020204" pitchFamily="34" charset="0"/>
              </a:rPr>
              <a:t>.</a:t>
            </a:r>
          </a:p>
          <a:p>
            <a:pPr algn="l"/>
            <a:r>
              <a:rPr lang="en-US" sz="3200" dirty="0" smtClean="0">
                <a:solidFill>
                  <a:schemeClr val="accent2"/>
                </a:solidFill>
                <a:latin typeface="Arial" panose="020B0604020202020204" pitchFamily="34" charset="0"/>
                <a:cs typeface="Arial" panose="020B0604020202020204" pitchFamily="34" charset="0"/>
              </a:rPr>
              <a:t>For our scholars, </a:t>
            </a:r>
            <a:br>
              <a:rPr lang="en-US" sz="3200" dirty="0" smtClean="0">
                <a:solidFill>
                  <a:schemeClr val="accent2"/>
                </a:solidFill>
                <a:latin typeface="Arial" panose="020B0604020202020204" pitchFamily="34" charset="0"/>
                <a:cs typeface="Arial" panose="020B0604020202020204" pitchFamily="34" charset="0"/>
              </a:rPr>
            </a:br>
            <a:r>
              <a:rPr lang="en-US" sz="3200" dirty="0" smtClean="0">
                <a:solidFill>
                  <a:schemeClr val="accent2"/>
                </a:solidFill>
                <a:latin typeface="Arial" panose="020B0604020202020204" pitchFamily="34" charset="0"/>
                <a:cs typeface="Arial" panose="020B0604020202020204" pitchFamily="34" charset="0"/>
              </a:rPr>
              <a:t>for society.</a:t>
            </a:r>
            <a:endParaRPr lang="de-DE" sz="4800" dirty="0">
              <a:solidFill>
                <a:schemeClr val="accent2"/>
              </a:solidFill>
              <a:latin typeface="Arial" panose="020B0604020202020204" pitchFamily="34" charset="0"/>
              <a:cs typeface="Arial" panose="020B0604020202020204" pitchFamily="34" charset="0"/>
            </a:endParaRPr>
          </a:p>
        </p:txBody>
      </p:sp>
      <p:sp>
        <p:nvSpPr>
          <p:cNvPr id="5"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Our</a:t>
            </a:r>
            <a:r>
              <a:rPr lang="de-DE" sz="3600" b="1" dirty="0" smtClean="0">
                <a:solidFill>
                  <a:schemeClr val="accent6"/>
                </a:solidFill>
              </a:rPr>
              <a:t> </a:t>
            </a:r>
            <a:r>
              <a:rPr lang="de-DE" sz="3600" b="1" dirty="0" err="1" smtClean="0">
                <a:solidFill>
                  <a:schemeClr val="accent6"/>
                </a:solidFill>
              </a:rPr>
              <a:t>destination</a:t>
            </a:r>
            <a:endParaRPr lang="de-DE" sz="3600" dirty="0"/>
          </a:p>
        </p:txBody>
      </p:sp>
      <p:sp>
        <p:nvSpPr>
          <p:cNvPr id="15" name="Freihandform 14"/>
          <p:cNvSpPr/>
          <p:nvPr/>
        </p:nvSpPr>
        <p:spPr>
          <a:xfrm>
            <a:off x="4300834" y="2282847"/>
            <a:ext cx="2579238" cy="2308072"/>
          </a:xfrm>
          <a:custGeom>
            <a:avLst/>
            <a:gdLst>
              <a:gd name="connsiteX0" fmla="*/ 1740513 w 2579238"/>
              <a:gd name="connsiteY0" fmla="*/ 1778350 h 2308072"/>
              <a:gd name="connsiteX1" fmla="*/ 1872943 w 2579238"/>
              <a:gd name="connsiteY1" fmla="*/ 1854025 h 2308072"/>
              <a:gd name="connsiteX2" fmla="*/ 1992761 w 2579238"/>
              <a:gd name="connsiteY2" fmla="*/ 1954924 h 2308072"/>
              <a:gd name="connsiteX3" fmla="*/ 2074742 w 2579238"/>
              <a:gd name="connsiteY3" fmla="*/ 2030599 h 2308072"/>
              <a:gd name="connsiteX4" fmla="*/ 2144110 w 2579238"/>
              <a:gd name="connsiteY4" fmla="*/ 2106273 h 2308072"/>
              <a:gd name="connsiteX5" fmla="*/ 2213478 w 2579238"/>
              <a:gd name="connsiteY5" fmla="*/ 2194560 h 2308072"/>
              <a:gd name="connsiteX6" fmla="*/ 2326990 w 2579238"/>
              <a:gd name="connsiteY6" fmla="*/ 2308072 h 2308072"/>
              <a:gd name="connsiteX7" fmla="*/ 2579238 w 2579238"/>
              <a:gd name="connsiteY7" fmla="*/ 2017986 h 2308072"/>
              <a:gd name="connsiteX8" fmla="*/ 2408971 w 2579238"/>
              <a:gd name="connsiteY8" fmla="*/ 586477 h 2308072"/>
              <a:gd name="connsiteX9" fmla="*/ 1803575 w 2579238"/>
              <a:gd name="connsiteY9" fmla="*/ 0 h 2308072"/>
              <a:gd name="connsiteX10" fmla="*/ 1027911 w 2579238"/>
              <a:gd name="connsiteY10" fmla="*/ 6306 h 2308072"/>
              <a:gd name="connsiteX11" fmla="*/ 573864 w 2579238"/>
              <a:gd name="connsiteY11" fmla="*/ 75675 h 2308072"/>
              <a:gd name="connsiteX12" fmla="*/ 264860 w 2579238"/>
              <a:gd name="connsiteY12" fmla="*/ 454047 h 2308072"/>
              <a:gd name="connsiteX13" fmla="*/ 0 w 2579238"/>
              <a:gd name="connsiteY13" fmla="*/ 1065749 h 2308072"/>
              <a:gd name="connsiteX14" fmla="*/ 6306 w 2579238"/>
              <a:gd name="connsiteY14" fmla="*/ 1519796 h 2308072"/>
              <a:gd name="connsiteX15" fmla="*/ 536027 w 2579238"/>
              <a:gd name="connsiteY15" fmla="*/ 1532408 h 2308072"/>
              <a:gd name="connsiteX16" fmla="*/ 1072055 w 2579238"/>
              <a:gd name="connsiteY16" fmla="*/ 1418897 h 2308072"/>
              <a:gd name="connsiteX17" fmla="*/ 1721594 w 2579238"/>
              <a:gd name="connsiteY17" fmla="*/ 1620695 h 2308072"/>
              <a:gd name="connsiteX18" fmla="*/ 1740513 w 2579238"/>
              <a:gd name="connsiteY18" fmla="*/ 1778350 h 2308072"/>
              <a:gd name="connsiteX0" fmla="*/ 1740513 w 2579238"/>
              <a:gd name="connsiteY0" fmla="*/ 1778350 h 2308072"/>
              <a:gd name="connsiteX1" fmla="*/ 1872943 w 2579238"/>
              <a:gd name="connsiteY1" fmla="*/ 1854025 h 2308072"/>
              <a:gd name="connsiteX2" fmla="*/ 1992761 w 2579238"/>
              <a:gd name="connsiteY2" fmla="*/ 1954924 h 2308072"/>
              <a:gd name="connsiteX3" fmla="*/ 2074742 w 2579238"/>
              <a:gd name="connsiteY3" fmla="*/ 2030599 h 2308072"/>
              <a:gd name="connsiteX4" fmla="*/ 2144110 w 2579238"/>
              <a:gd name="connsiteY4" fmla="*/ 2106273 h 2308072"/>
              <a:gd name="connsiteX5" fmla="*/ 2326990 w 2579238"/>
              <a:gd name="connsiteY5" fmla="*/ 2308072 h 2308072"/>
              <a:gd name="connsiteX6" fmla="*/ 2579238 w 2579238"/>
              <a:gd name="connsiteY6" fmla="*/ 2017986 h 2308072"/>
              <a:gd name="connsiteX7" fmla="*/ 2408971 w 2579238"/>
              <a:gd name="connsiteY7" fmla="*/ 586477 h 2308072"/>
              <a:gd name="connsiteX8" fmla="*/ 1803575 w 2579238"/>
              <a:gd name="connsiteY8" fmla="*/ 0 h 2308072"/>
              <a:gd name="connsiteX9" fmla="*/ 1027911 w 2579238"/>
              <a:gd name="connsiteY9" fmla="*/ 6306 h 2308072"/>
              <a:gd name="connsiteX10" fmla="*/ 573864 w 2579238"/>
              <a:gd name="connsiteY10" fmla="*/ 75675 h 2308072"/>
              <a:gd name="connsiteX11" fmla="*/ 264860 w 2579238"/>
              <a:gd name="connsiteY11" fmla="*/ 454047 h 2308072"/>
              <a:gd name="connsiteX12" fmla="*/ 0 w 2579238"/>
              <a:gd name="connsiteY12" fmla="*/ 1065749 h 2308072"/>
              <a:gd name="connsiteX13" fmla="*/ 6306 w 2579238"/>
              <a:gd name="connsiteY13" fmla="*/ 1519796 h 2308072"/>
              <a:gd name="connsiteX14" fmla="*/ 536027 w 2579238"/>
              <a:gd name="connsiteY14" fmla="*/ 1532408 h 2308072"/>
              <a:gd name="connsiteX15" fmla="*/ 1072055 w 2579238"/>
              <a:gd name="connsiteY15" fmla="*/ 1418897 h 2308072"/>
              <a:gd name="connsiteX16" fmla="*/ 1721594 w 2579238"/>
              <a:gd name="connsiteY16" fmla="*/ 1620695 h 2308072"/>
              <a:gd name="connsiteX17" fmla="*/ 1740513 w 2579238"/>
              <a:gd name="connsiteY17" fmla="*/ 1778350 h 2308072"/>
              <a:gd name="connsiteX0" fmla="*/ 1740513 w 2579238"/>
              <a:gd name="connsiteY0" fmla="*/ 1778350 h 2308072"/>
              <a:gd name="connsiteX1" fmla="*/ 1872943 w 2579238"/>
              <a:gd name="connsiteY1" fmla="*/ 1854025 h 2308072"/>
              <a:gd name="connsiteX2" fmla="*/ 1992761 w 2579238"/>
              <a:gd name="connsiteY2" fmla="*/ 1954924 h 2308072"/>
              <a:gd name="connsiteX3" fmla="*/ 2074742 w 2579238"/>
              <a:gd name="connsiteY3" fmla="*/ 2030599 h 2308072"/>
              <a:gd name="connsiteX4" fmla="*/ 2326990 w 2579238"/>
              <a:gd name="connsiteY4" fmla="*/ 2308072 h 2308072"/>
              <a:gd name="connsiteX5" fmla="*/ 2579238 w 2579238"/>
              <a:gd name="connsiteY5" fmla="*/ 2017986 h 2308072"/>
              <a:gd name="connsiteX6" fmla="*/ 2408971 w 2579238"/>
              <a:gd name="connsiteY6" fmla="*/ 586477 h 2308072"/>
              <a:gd name="connsiteX7" fmla="*/ 1803575 w 2579238"/>
              <a:gd name="connsiteY7" fmla="*/ 0 h 2308072"/>
              <a:gd name="connsiteX8" fmla="*/ 1027911 w 2579238"/>
              <a:gd name="connsiteY8" fmla="*/ 6306 h 2308072"/>
              <a:gd name="connsiteX9" fmla="*/ 573864 w 2579238"/>
              <a:gd name="connsiteY9" fmla="*/ 75675 h 2308072"/>
              <a:gd name="connsiteX10" fmla="*/ 264860 w 2579238"/>
              <a:gd name="connsiteY10" fmla="*/ 454047 h 2308072"/>
              <a:gd name="connsiteX11" fmla="*/ 0 w 2579238"/>
              <a:gd name="connsiteY11" fmla="*/ 1065749 h 2308072"/>
              <a:gd name="connsiteX12" fmla="*/ 6306 w 2579238"/>
              <a:gd name="connsiteY12" fmla="*/ 1519796 h 2308072"/>
              <a:gd name="connsiteX13" fmla="*/ 536027 w 2579238"/>
              <a:gd name="connsiteY13" fmla="*/ 1532408 h 2308072"/>
              <a:gd name="connsiteX14" fmla="*/ 1072055 w 2579238"/>
              <a:gd name="connsiteY14" fmla="*/ 1418897 h 2308072"/>
              <a:gd name="connsiteX15" fmla="*/ 1721594 w 2579238"/>
              <a:gd name="connsiteY15" fmla="*/ 1620695 h 2308072"/>
              <a:gd name="connsiteX16" fmla="*/ 1740513 w 2579238"/>
              <a:gd name="connsiteY16" fmla="*/ 1778350 h 2308072"/>
              <a:gd name="connsiteX0" fmla="*/ 1740513 w 2579238"/>
              <a:gd name="connsiteY0" fmla="*/ 1778350 h 2308072"/>
              <a:gd name="connsiteX1" fmla="*/ 1872943 w 2579238"/>
              <a:gd name="connsiteY1" fmla="*/ 1854025 h 2308072"/>
              <a:gd name="connsiteX2" fmla="*/ 1992761 w 2579238"/>
              <a:gd name="connsiteY2" fmla="*/ 1954924 h 2308072"/>
              <a:gd name="connsiteX3" fmla="*/ 2326990 w 2579238"/>
              <a:gd name="connsiteY3" fmla="*/ 2308072 h 2308072"/>
              <a:gd name="connsiteX4" fmla="*/ 2579238 w 2579238"/>
              <a:gd name="connsiteY4" fmla="*/ 2017986 h 2308072"/>
              <a:gd name="connsiteX5" fmla="*/ 2408971 w 2579238"/>
              <a:gd name="connsiteY5" fmla="*/ 586477 h 2308072"/>
              <a:gd name="connsiteX6" fmla="*/ 1803575 w 2579238"/>
              <a:gd name="connsiteY6" fmla="*/ 0 h 2308072"/>
              <a:gd name="connsiteX7" fmla="*/ 1027911 w 2579238"/>
              <a:gd name="connsiteY7" fmla="*/ 6306 h 2308072"/>
              <a:gd name="connsiteX8" fmla="*/ 573864 w 2579238"/>
              <a:gd name="connsiteY8" fmla="*/ 75675 h 2308072"/>
              <a:gd name="connsiteX9" fmla="*/ 264860 w 2579238"/>
              <a:gd name="connsiteY9" fmla="*/ 454047 h 2308072"/>
              <a:gd name="connsiteX10" fmla="*/ 0 w 2579238"/>
              <a:gd name="connsiteY10" fmla="*/ 1065749 h 2308072"/>
              <a:gd name="connsiteX11" fmla="*/ 6306 w 2579238"/>
              <a:gd name="connsiteY11" fmla="*/ 1519796 h 2308072"/>
              <a:gd name="connsiteX12" fmla="*/ 536027 w 2579238"/>
              <a:gd name="connsiteY12" fmla="*/ 1532408 h 2308072"/>
              <a:gd name="connsiteX13" fmla="*/ 1072055 w 2579238"/>
              <a:gd name="connsiteY13" fmla="*/ 1418897 h 2308072"/>
              <a:gd name="connsiteX14" fmla="*/ 1721594 w 2579238"/>
              <a:gd name="connsiteY14" fmla="*/ 1620695 h 2308072"/>
              <a:gd name="connsiteX15" fmla="*/ 1740513 w 2579238"/>
              <a:gd name="connsiteY15" fmla="*/ 1778350 h 2308072"/>
              <a:gd name="connsiteX0" fmla="*/ 1740513 w 2579238"/>
              <a:gd name="connsiteY0" fmla="*/ 1778350 h 2308072"/>
              <a:gd name="connsiteX1" fmla="*/ 1872943 w 2579238"/>
              <a:gd name="connsiteY1" fmla="*/ 1854025 h 2308072"/>
              <a:gd name="connsiteX2" fmla="*/ 2326990 w 2579238"/>
              <a:gd name="connsiteY2" fmla="*/ 2308072 h 2308072"/>
              <a:gd name="connsiteX3" fmla="*/ 2579238 w 2579238"/>
              <a:gd name="connsiteY3" fmla="*/ 2017986 h 2308072"/>
              <a:gd name="connsiteX4" fmla="*/ 2408971 w 2579238"/>
              <a:gd name="connsiteY4" fmla="*/ 586477 h 2308072"/>
              <a:gd name="connsiteX5" fmla="*/ 1803575 w 2579238"/>
              <a:gd name="connsiteY5" fmla="*/ 0 h 2308072"/>
              <a:gd name="connsiteX6" fmla="*/ 1027911 w 2579238"/>
              <a:gd name="connsiteY6" fmla="*/ 6306 h 2308072"/>
              <a:gd name="connsiteX7" fmla="*/ 573864 w 2579238"/>
              <a:gd name="connsiteY7" fmla="*/ 75675 h 2308072"/>
              <a:gd name="connsiteX8" fmla="*/ 264860 w 2579238"/>
              <a:gd name="connsiteY8" fmla="*/ 454047 h 2308072"/>
              <a:gd name="connsiteX9" fmla="*/ 0 w 2579238"/>
              <a:gd name="connsiteY9" fmla="*/ 1065749 h 2308072"/>
              <a:gd name="connsiteX10" fmla="*/ 6306 w 2579238"/>
              <a:gd name="connsiteY10" fmla="*/ 1519796 h 2308072"/>
              <a:gd name="connsiteX11" fmla="*/ 536027 w 2579238"/>
              <a:gd name="connsiteY11" fmla="*/ 1532408 h 2308072"/>
              <a:gd name="connsiteX12" fmla="*/ 1072055 w 2579238"/>
              <a:gd name="connsiteY12" fmla="*/ 1418897 h 2308072"/>
              <a:gd name="connsiteX13" fmla="*/ 1721594 w 2579238"/>
              <a:gd name="connsiteY13" fmla="*/ 1620695 h 2308072"/>
              <a:gd name="connsiteX14" fmla="*/ 1740513 w 2579238"/>
              <a:gd name="connsiteY14" fmla="*/ 1778350 h 2308072"/>
              <a:gd name="connsiteX0" fmla="*/ 1740513 w 2579238"/>
              <a:gd name="connsiteY0" fmla="*/ 1778350 h 2308072"/>
              <a:gd name="connsiteX1" fmla="*/ 2326990 w 2579238"/>
              <a:gd name="connsiteY1" fmla="*/ 2308072 h 2308072"/>
              <a:gd name="connsiteX2" fmla="*/ 2579238 w 2579238"/>
              <a:gd name="connsiteY2" fmla="*/ 2017986 h 2308072"/>
              <a:gd name="connsiteX3" fmla="*/ 2408971 w 2579238"/>
              <a:gd name="connsiteY3" fmla="*/ 586477 h 2308072"/>
              <a:gd name="connsiteX4" fmla="*/ 1803575 w 2579238"/>
              <a:gd name="connsiteY4" fmla="*/ 0 h 2308072"/>
              <a:gd name="connsiteX5" fmla="*/ 1027911 w 2579238"/>
              <a:gd name="connsiteY5" fmla="*/ 6306 h 2308072"/>
              <a:gd name="connsiteX6" fmla="*/ 573864 w 2579238"/>
              <a:gd name="connsiteY6" fmla="*/ 75675 h 2308072"/>
              <a:gd name="connsiteX7" fmla="*/ 264860 w 2579238"/>
              <a:gd name="connsiteY7" fmla="*/ 454047 h 2308072"/>
              <a:gd name="connsiteX8" fmla="*/ 0 w 2579238"/>
              <a:gd name="connsiteY8" fmla="*/ 1065749 h 2308072"/>
              <a:gd name="connsiteX9" fmla="*/ 6306 w 2579238"/>
              <a:gd name="connsiteY9" fmla="*/ 1519796 h 2308072"/>
              <a:gd name="connsiteX10" fmla="*/ 536027 w 2579238"/>
              <a:gd name="connsiteY10" fmla="*/ 1532408 h 2308072"/>
              <a:gd name="connsiteX11" fmla="*/ 1072055 w 2579238"/>
              <a:gd name="connsiteY11" fmla="*/ 1418897 h 2308072"/>
              <a:gd name="connsiteX12" fmla="*/ 1721594 w 2579238"/>
              <a:gd name="connsiteY12" fmla="*/ 1620695 h 2308072"/>
              <a:gd name="connsiteX13" fmla="*/ 1740513 w 2579238"/>
              <a:gd name="connsiteY13" fmla="*/ 1778350 h 2308072"/>
              <a:gd name="connsiteX0" fmla="*/ 1740513 w 2579238"/>
              <a:gd name="connsiteY0" fmla="*/ 1778350 h 2308072"/>
              <a:gd name="connsiteX1" fmla="*/ 2326990 w 2579238"/>
              <a:gd name="connsiteY1" fmla="*/ 2308072 h 2308072"/>
              <a:gd name="connsiteX2" fmla="*/ 2579238 w 2579238"/>
              <a:gd name="connsiteY2" fmla="*/ 2017986 h 2308072"/>
              <a:gd name="connsiteX3" fmla="*/ 2408971 w 2579238"/>
              <a:gd name="connsiteY3" fmla="*/ 586477 h 2308072"/>
              <a:gd name="connsiteX4" fmla="*/ 1803575 w 2579238"/>
              <a:gd name="connsiteY4" fmla="*/ 0 h 2308072"/>
              <a:gd name="connsiteX5" fmla="*/ 1027911 w 2579238"/>
              <a:gd name="connsiteY5" fmla="*/ 6306 h 2308072"/>
              <a:gd name="connsiteX6" fmla="*/ 573864 w 2579238"/>
              <a:gd name="connsiteY6" fmla="*/ 75675 h 2308072"/>
              <a:gd name="connsiteX7" fmla="*/ 264860 w 2579238"/>
              <a:gd name="connsiteY7" fmla="*/ 454047 h 2308072"/>
              <a:gd name="connsiteX8" fmla="*/ 0 w 2579238"/>
              <a:gd name="connsiteY8" fmla="*/ 1065749 h 2308072"/>
              <a:gd name="connsiteX9" fmla="*/ 6306 w 2579238"/>
              <a:gd name="connsiteY9" fmla="*/ 1519796 h 2308072"/>
              <a:gd name="connsiteX10" fmla="*/ 536027 w 2579238"/>
              <a:gd name="connsiteY10" fmla="*/ 1532408 h 2308072"/>
              <a:gd name="connsiteX11" fmla="*/ 1072055 w 2579238"/>
              <a:gd name="connsiteY11" fmla="*/ 1418897 h 2308072"/>
              <a:gd name="connsiteX12" fmla="*/ 1721594 w 2579238"/>
              <a:gd name="connsiteY12" fmla="*/ 1620695 h 2308072"/>
              <a:gd name="connsiteX13" fmla="*/ 1740513 w 2579238"/>
              <a:gd name="connsiteY13" fmla="*/ 1778350 h 2308072"/>
              <a:gd name="connsiteX0" fmla="*/ 1740513 w 2579238"/>
              <a:gd name="connsiteY0" fmla="*/ 1778350 h 2308072"/>
              <a:gd name="connsiteX1" fmla="*/ 2326990 w 2579238"/>
              <a:gd name="connsiteY1" fmla="*/ 2308072 h 2308072"/>
              <a:gd name="connsiteX2" fmla="*/ 2579238 w 2579238"/>
              <a:gd name="connsiteY2" fmla="*/ 2017986 h 2308072"/>
              <a:gd name="connsiteX3" fmla="*/ 2408971 w 2579238"/>
              <a:gd name="connsiteY3" fmla="*/ 586477 h 2308072"/>
              <a:gd name="connsiteX4" fmla="*/ 1803575 w 2579238"/>
              <a:gd name="connsiteY4" fmla="*/ 0 h 2308072"/>
              <a:gd name="connsiteX5" fmla="*/ 1027911 w 2579238"/>
              <a:gd name="connsiteY5" fmla="*/ 6306 h 2308072"/>
              <a:gd name="connsiteX6" fmla="*/ 573864 w 2579238"/>
              <a:gd name="connsiteY6" fmla="*/ 75675 h 2308072"/>
              <a:gd name="connsiteX7" fmla="*/ 264860 w 2579238"/>
              <a:gd name="connsiteY7" fmla="*/ 454047 h 2308072"/>
              <a:gd name="connsiteX8" fmla="*/ 0 w 2579238"/>
              <a:gd name="connsiteY8" fmla="*/ 1065749 h 2308072"/>
              <a:gd name="connsiteX9" fmla="*/ 6306 w 2579238"/>
              <a:gd name="connsiteY9" fmla="*/ 1519796 h 2308072"/>
              <a:gd name="connsiteX10" fmla="*/ 536027 w 2579238"/>
              <a:gd name="connsiteY10" fmla="*/ 1532408 h 2308072"/>
              <a:gd name="connsiteX11" fmla="*/ 1072055 w 2579238"/>
              <a:gd name="connsiteY11" fmla="*/ 1418897 h 2308072"/>
              <a:gd name="connsiteX12" fmla="*/ 1721594 w 2579238"/>
              <a:gd name="connsiteY12" fmla="*/ 1620695 h 2308072"/>
              <a:gd name="connsiteX13" fmla="*/ 1740513 w 2579238"/>
              <a:gd name="connsiteY13" fmla="*/ 1778350 h 2308072"/>
              <a:gd name="connsiteX0" fmla="*/ 1740513 w 2579238"/>
              <a:gd name="connsiteY0" fmla="*/ 1778350 h 2308072"/>
              <a:gd name="connsiteX1" fmla="*/ 2326990 w 2579238"/>
              <a:gd name="connsiteY1" fmla="*/ 2308072 h 2308072"/>
              <a:gd name="connsiteX2" fmla="*/ 2579238 w 2579238"/>
              <a:gd name="connsiteY2" fmla="*/ 2017986 h 2308072"/>
              <a:gd name="connsiteX3" fmla="*/ 2408971 w 2579238"/>
              <a:gd name="connsiteY3" fmla="*/ 586477 h 2308072"/>
              <a:gd name="connsiteX4" fmla="*/ 1803575 w 2579238"/>
              <a:gd name="connsiteY4" fmla="*/ 0 h 2308072"/>
              <a:gd name="connsiteX5" fmla="*/ 1027911 w 2579238"/>
              <a:gd name="connsiteY5" fmla="*/ 6306 h 2308072"/>
              <a:gd name="connsiteX6" fmla="*/ 573864 w 2579238"/>
              <a:gd name="connsiteY6" fmla="*/ 75675 h 2308072"/>
              <a:gd name="connsiteX7" fmla="*/ 264860 w 2579238"/>
              <a:gd name="connsiteY7" fmla="*/ 454047 h 2308072"/>
              <a:gd name="connsiteX8" fmla="*/ 0 w 2579238"/>
              <a:gd name="connsiteY8" fmla="*/ 1065749 h 2308072"/>
              <a:gd name="connsiteX9" fmla="*/ 6306 w 2579238"/>
              <a:gd name="connsiteY9" fmla="*/ 1519796 h 2308072"/>
              <a:gd name="connsiteX10" fmla="*/ 536027 w 2579238"/>
              <a:gd name="connsiteY10" fmla="*/ 1532408 h 2308072"/>
              <a:gd name="connsiteX11" fmla="*/ 1072055 w 2579238"/>
              <a:gd name="connsiteY11" fmla="*/ 1418897 h 2308072"/>
              <a:gd name="connsiteX12" fmla="*/ 1721594 w 2579238"/>
              <a:gd name="connsiteY12" fmla="*/ 1620695 h 2308072"/>
              <a:gd name="connsiteX13" fmla="*/ 1740513 w 2579238"/>
              <a:gd name="connsiteY13" fmla="*/ 1778350 h 2308072"/>
              <a:gd name="connsiteX0" fmla="*/ 1740513 w 2579238"/>
              <a:gd name="connsiteY0" fmla="*/ 1778350 h 2308072"/>
              <a:gd name="connsiteX1" fmla="*/ 2326990 w 2579238"/>
              <a:gd name="connsiteY1" fmla="*/ 2308072 h 2308072"/>
              <a:gd name="connsiteX2" fmla="*/ 2579238 w 2579238"/>
              <a:gd name="connsiteY2" fmla="*/ 2017986 h 2308072"/>
              <a:gd name="connsiteX3" fmla="*/ 2408971 w 2579238"/>
              <a:gd name="connsiteY3" fmla="*/ 586477 h 2308072"/>
              <a:gd name="connsiteX4" fmla="*/ 1803575 w 2579238"/>
              <a:gd name="connsiteY4" fmla="*/ 0 h 2308072"/>
              <a:gd name="connsiteX5" fmla="*/ 1027911 w 2579238"/>
              <a:gd name="connsiteY5" fmla="*/ 6306 h 2308072"/>
              <a:gd name="connsiteX6" fmla="*/ 573864 w 2579238"/>
              <a:gd name="connsiteY6" fmla="*/ 75675 h 2308072"/>
              <a:gd name="connsiteX7" fmla="*/ 264860 w 2579238"/>
              <a:gd name="connsiteY7" fmla="*/ 454047 h 2308072"/>
              <a:gd name="connsiteX8" fmla="*/ 0 w 2579238"/>
              <a:gd name="connsiteY8" fmla="*/ 1065749 h 2308072"/>
              <a:gd name="connsiteX9" fmla="*/ 6306 w 2579238"/>
              <a:gd name="connsiteY9" fmla="*/ 1519796 h 2308072"/>
              <a:gd name="connsiteX10" fmla="*/ 536027 w 2579238"/>
              <a:gd name="connsiteY10" fmla="*/ 1532408 h 2308072"/>
              <a:gd name="connsiteX11" fmla="*/ 1072055 w 2579238"/>
              <a:gd name="connsiteY11" fmla="*/ 1418897 h 2308072"/>
              <a:gd name="connsiteX12" fmla="*/ 1721594 w 2579238"/>
              <a:gd name="connsiteY12" fmla="*/ 1620695 h 2308072"/>
              <a:gd name="connsiteX13" fmla="*/ 1740513 w 2579238"/>
              <a:gd name="connsiteY13" fmla="*/ 1778350 h 230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9238" h="2308072">
                <a:moveTo>
                  <a:pt x="1740513" y="1778350"/>
                </a:moveTo>
                <a:cubicBezTo>
                  <a:pt x="2005374" y="1923393"/>
                  <a:pt x="2074743" y="1967537"/>
                  <a:pt x="2326990" y="2308072"/>
                </a:cubicBezTo>
                <a:lnTo>
                  <a:pt x="2579238" y="2017986"/>
                </a:lnTo>
                <a:lnTo>
                  <a:pt x="2408971" y="586477"/>
                </a:lnTo>
                <a:lnTo>
                  <a:pt x="1803575" y="0"/>
                </a:lnTo>
                <a:lnTo>
                  <a:pt x="1027911" y="6306"/>
                </a:lnTo>
                <a:lnTo>
                  <a:pt x="573864" y="75675"/>
                </a:lnTo>
                <a:lnTo>
                  <a:pt x="264860" y="454047"/>
                </a:lnTo>
                <a:lnTo>
                  <a:pt x="0" y="1065749"/>
                </a:lnTo>
                <a:lnTo>
                  <a:pt x="6306" y="1519796"/>
                </a:lnTo>
                <a:lnTo>
                  <a:pt x="536027" y="1532408"/>
                </a:lnTo>
                <a:lnTo>
                  <a:pt x="1072055" y="1418897"/>
                </a:lnTo>
                <a:lnTo>
                  <a:pt x="1721594" y="1620695"/>
                </a:lnTo>
                <a:lnTo>
                  <a:pt x="1740513" y="17783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Tree>
    <p:extLst>
      <p:ext uri="{BB962C8B-B14F-4D97-AF65-F5344CB8AC3E}">
        <p14:creationId xmlns:p14="http://schemas.microsoft.com/office/powerpoint/2010/main" val="1392333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3200"/>
                                        <p:tgtEl>
                                          <p:spTgt spid="2"/>
                                        </p:tgtEl>
                                      </p:cBhvr>
                                    </p:animEffect>
                                  </p:childTnLst>
                                </p:cTn>
                              </p:par>
                            </p:childTnLst>
                          </p:cTn>
                        </p:par>
                        <p:par>
                          <p:cTn id="8" fill="hold">
                            <p:stCondLst>
                              <p:cond delay="3200"/>
                            </p:stCondLst>
                            <p:childTnLst>
                              <p:par>
                                <p:cTn id="9" presetID="10" presetClass="entr" presetSubtype="0" fill="hold" nodeType="afterEffect">
                                  <p:stCondLst>
                                    <p:cond delay="50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1700"/>
                                        <p:tgtEl>
                                          <p:spTgt spid="14"/>
                                        </p:tgtEl>
                                      </p:cBhvr>
                                    </p:animEffect>
                                  </p:childTnLst>
                                </p:cTn>
                              </p:par>
                            </p:childTnLst>
                          </p:cTn>
                        </p:par>
                        <p:par>
                          <p:cTn id="12" fill="hold">
                            <p:stCondLst>
                              <p:cond delay="5400"/>
                            </p:stCondLst>
                            <p:childTnLst>
                              <p:par>
                                <p:cTn id="13" presetID="10" presetClass="exit" presetSubtype="0" fill="hold" grpId="0" nodeType="afterEffect">
                                  <p:stCondLst>
                                    <p:cond delay="500"/>
                                  </p:stCondLst>
                                  <p:childTnLst>
                                    <p:animEffect transition="out" filter="fade">
                                      <p:cBhvr>
                                        <p:cTn id="14" dur="500"/>
                                        <p:tgtEl>
                                          <p:spTgt spid="15"/>
                                        </p:tgtEl>
                                      </p:cBhvr>
                                    </p:animEffect>
                                    <p:set>
                                      <p:cBhvr>
                                        <p:cTn id="15" dur="1" fill="hold">
                                          <p:stCondLst>
                                            <p:cond delay="499"/>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55</a:t>
            </a:fld>
            <a:endParaRPr lang="de-DE" dirty="0"/>
          </a:p>
        </p:txBody>
      </p:sp>
      <p:sp>
        <p:nvSpPr>
          <p:cNvPr id="5"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Ready</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a:t>
            </a:r>
            <a:r>
              <a:rPr lang="de-DE" sz="3600" b="1" dirty="0" err="1" smtClean="0">
                <a:solidFill>
                  <a:schemeClr val="accent6"/>
                </a:solidFill>
              </a:rPr>
              <a:t>start</a:t>
            </a:r>
            <a:r>
              <a:rPr lang="de-DE" sz="3600" b="1" dirty="0" smtClean="0">
                <a:solidFill>
                  <a:schemeClr val="accent6"/>
                </a:solidFill>
              </a:rPr>
              <a:t>?</a:t>
            </a:r>
            <a:endParaRPr lang="de-DE" sz="3600" dirty="0"/>
          </a:p>
        </p:txBody>
      </p:sp>
      <p:pic>
        <p:nvPicPr>
          <p:cNvPr id="7" name="Grafik 3"/>
          <p:cNvPicPr>
            <a:picLocks noChangeAspect="1"/>
          </p:cNvPicPr>
          <p:nvPr/>
        </p:nvPicPr>
        <p:blipFill rotWithShape="1">
          <a:blip r:embed="rId2" cstate="print">
            <a:extLst>
              <a:ext uri="{28A0092B-C50C-407E-A947-70E740481C1C}">
                <a14:useLocalDpi xmlns:a14="http://schemas.microsoft.com/office/drawing/2010/main" val="0"/>
              </a:ext>
            </a:extLst>
          </a:blip>
          <a:srcRect b="37075"/>
          <a:stretch/>
        </p:blipFill>
        <p:spPr>
          <a:xfrm>
            <a:off x="2739522" y="2127228"/>
            <a:ext cx="1642601" cy="1807847"/>
          </a:xfrm>
          <a:prstGeom prst="rect">
            <a:avLst/>
          </a:prstGeom>
        </p:spPr>
      </p:pic>
      <p:sp>
        <p:nvSpPr>
          <p:cNvPr id="9" name="TextBox 3"/>
          <p:cNvSpPr txBox="1"/>
          <p:nvPr/>
        </p:nvSpPr>
        <p:spPr>
          <a:xfrm>
            <a:off x="2739522" y="4101052"/>
            <a:ext cx="1580230" cy="615553"/>
          </a:xfrm>
          <a:prstGeom prst="rect">
            <a:avLst/>
          </a:prstGeom>
          <a:noFill/>
        </p:spPr>
        <p:txBody>
          <a:bodyPr wrap="square" lIns="0" tIns="0" rIns="0" bIns="0" rtlCol="0">
            <a:spAutoFit/>
          </a:bodyPr>
          <a:lstStyle/>
          <a:p>
            <a:pPr algn="ctr"/>
            <a:r>
              <a:rPr lang="en-GB" sz="2000" spc="100" dirty="0" smtClean="0">
                <a:solidFill>
                  <a:schemeClr val="accent2"/>
                </a:solidFill>
              </a:rPr>
              <a:t>Participate in </a:t>
            </a:r>
            <a:r>
              <a:rPr lang="en-GB" sz="2000" b="1" spc="100" dirty="0" smtClean="0">
                <a:solidFill>
                  <a:schemeClr val="accent2"/>
                </a:solidFill>
              </a:rPr>
              <a:t>OA2020</a:t>
            </a:r>
            <a:endParaRPr lang="en-GB" sz="2000" b="1" spc="100" dirty="0">
              <a:solidFill>
                <a:schemeClr val="accent2"/>
              </a:solidFill>
            </a:endParaRPr>
          </a:p>
        </p:txBody>
      </p:sp>
      <p:sp>
        <p:nvSpPr>
          <p:cNvPr id="11" name="TextBox 14"/>
          <p:cNvSpPr txBox="1"/>
          <p:nvPr/>
        </p:nvSpPr>
        <p:spPr>
          <a:xfrm>
            <a:off x="5739865" y="4107357"/>
            <a:ext cx="1715480" cy="615553"/>
          </a:xfrm>
          <a:prstGeom prst="rect">
            <a:avLst/>
          </a:prstGeom>
          <a:noFill/>
        </p:spPr>
        <p:txBody>
          <a:bodyPr wrap="square" lIns="0" tIns="0" rIns="0" bIns="0" rtlCol="0">
            <a:spAutoFit/>
          </a:bodyPr>
          <a:lstStyle/>
          <a:p>
            <a:pPr algn="ctr"/>
            <a:r>
              <a:rPr lang="en-GB" sz="2000" b="1" spc="100" dirty="0" smtClean="0">
                <a:solidFill>
                  <a:schemeClr val="accent2"/>
                </a:solidFill>
              </a:rPr>
              <a:t>Accelerate</a:t>
            </a:r>
            <a:r>
              <a:rPr lang="en-GB" sz="2000" spc="100" dirty="0" smtClean="0">
                <a:solidFill>
                  <a:schemeClr val="accent2"/>
                </a:solidFill>
              </a:rPr>
              <a:t> the transition</a:t>
            </a:r>
            <a:endParaRPr lang="en-GB" sz="2000" spc="100" dirty="0">
              <a:solidFill>
                <a:schemeClr val="accent2"/>
              </a:solidFill>
            </a:endParaRPr>
          </a:p>
        </p:txBody>
      </p:sp>
      <p:sp>
        <p:nvSpPr>
          <p:cNvPr id="12" name="Rectangle 15"/>
          <p:cNvSpPr/>
          <p:nvPr/>
        </p:nvSpPr>
        <p:spPr>
          <a:xfrm>
            <a:off x="302341" y="5745315"/>
            <a:ext cx="2554811" cy="276999"/>
          </a:xfrm>
          <a:prstGeom prst="rect">
            <a:avLst/>
          </a:prstGeom>
        </p:spPr>
        <p:txBody>
          <a:bodyPr wrap="square" lIns="0" tIns="0" rIns="0" bIns="0">
            <a:spAutoFit/>
          </a:bodyPr>
          <a:lstStyle/>
          <a:p>
            <a:r>
              <a:rPr lang="en-GB" b="1" dirty="0">
                <a:solidFill>
                  <a:schemeClr val="accent6"/>
                </a:solidFill>
              </a:rPr>
              <a:t>https://oa2020.org/</a:t>
            </a:r>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3119" y="2133534"/>
            <a:ext cx="1668972" cy="1668972"/>
          </a:xfrm>
          <a:prstGeom prst="rect">
            <a:avLst/>
          </a:prstGeom>
        </p:spPr>
      </p:pic>
    </p:spTree>
    <p:extLst>
      <p:ext uri="{BB962C8B-B14F-4D97-AF65-F5344CB8AC3E}">
        <p14:creationId xmlns:p14="http://schemas.microsoft.com/office/powerpoint/2010/main" val="349998668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56</a:t>
            </a:fld>
            <a:endParaRPr lang="de-DE" dirty="0"/>
          </a:p>
        </p:txBody>
      </p:sp>
      <p:sp>
        <p:nvSpPr>
          <p:cNvPr id="4" name="Inhaltsplatzhalter 2"/>
          <p:cNvSpPr txBox="1">
            <a:spLocks/>
          </p:cNvSpPr>
          <p:nvPr/>
        </p:nvSpPr>
        <p:spPr>
          <a:xfrm>
            <a:off x="1167177" y="2865753"/>
            <a:ext cx="9160097"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5400" b="1" dirty="0" smtClean="0">
                <a:solidFill>
                  <a:schemeClr val="accent6"/>
                </a:solidFill>
                <a:latin typeface="Arial" panose="020B0604020202020204" pitchFamily="34" charset="0"/>
                <a:cs typeface="Arial" panose="020B0604020202020204" pitchFamily="34" charset="0"/>
              </a:rPr>
              <a:t>Thank you!</a:t>
            </a:r>
            <a:endParaRPr lang="de-DE" sz="8000" b="1" dirty="0">
              <a:solidFill>
                <a:schemeClr val="accent6"/>
              </a:solidFill>
              <a:latin typeface="Arial" panose="020B0604020202020204" pitchFamily="34" charset="0"/>
              <a:cs typeface="Arial" panose="020B0604020202020204" pitchFamily="34" charset="0"/>
            </a:endParaRPr>
          </a:p>
        </p:txBody>
      </p:sp>
      <p:sp>
        <p:nvSpPr>
          <p:cNvPr id="8" name="TextBox 7"/>
          <p:cNvSpPr txBox="1"/>
          <p:nvPr/>
        </p:nvSpPr>
        <p:spPr>
          <a:xfrm>
            <a:off x="1167177" y="4620474"/>
            <a:ext cx="4997450" cy="1600438"/>
          </a:xfrm>
          <a:prstGeom prst="rect">
            <a:avLst/>
          </a:prstGeom>
          <a:noFill/>
        </p:spPr>
        <p:txBody>
          <a:bodyPr wrap="square" lIns="0" tIns="0" rIns="0" bIns="0" rtlCol="0">
            <a:spAutoFit/>
          </a:bodyPr>
          <a:lstStyle/>
          <a:p>
            <a:r>
              <a:rPr lang="en-GB" sz="1600" b="1" dirty="0" smtClean="0">
                <a:solidFill>
                  <a:schemeClr val="accent2"/>
                </a:solidFill>
              </a:rPr>
              <a:t>Ralf Schimmer</a:t>
            </a:r>
          </a:p>
          <a:p>
            <a:r>
              <a:rPr lang="en-GB" sz="1600" dirty="0" smtClean="0">
                <a:solidFill>
                  <a:schemeClr val="accent2"/>
                </a:solidFill>
              </a:rPr>
              <a:t>Open Access 2020 Initiative</a:t>
            </a:r>
            <a:endParaRPr lang="de-DE" sz="1600" dirty="0">
              <a:solidFill>
                <a:schemeClr val="accent2"/>
              </a:solidFill>
            </a:endParaRPr>
          </a:p>
          <a:p>
            <a:r>
              <a:rPr lang="en-GB" sz="1600" dirty="0" smtClean="0">
                <a:solidFill>
                  <a:schemeClr val="accent2"/>
                </a:solidFill>
              </a:rPr>
              <a:t>Max </a:t>
            </a:r>
            <a:r>
              <a:rPr lang="en-GB" sz="1600" dirty="0">
                <a:solidFill>
                  <a:schemeClr val="accent2"/>
                </a:solidFill>
              </a:rPr>
              <a:t>Planck Digital </a:t>
            </a:r>
            <a:r>
              <a:rPr lang="en-GB" sz="1600" dirty="0" smtClean="0">
                <a:solidFill>
                  <a:schemeClr val="accent2"/>
                </a:solidFill>
              </a:rPr>
              <a:t>Library</a:t>
            </a:r>
          </a:p>
          <a:p>
            <a:endParaRPr lang="en-GB" sz="1400" dirty="0" smtClean="0">
              <a:solidFill>
                <a:schemeClr val="accent2"/>
              </a:solidFill>
            </a:endParaRPr>
          </a:p>
          <a:p>
            <a:r>
              <a:rPr lang="en-GB" sz="1400" u="sng" dirty="0" smtClean="0">
                <a:solidFill>
                  <a:schemeClr val="accent2"/>
                </a:solidFill>
                <a:hlinkClick r:id="rId2"/>
              </a:rPr>
              <a:t>schimmer@mpdl.mpg.de</a:t>
            </a:r>
            <a:r>
              <a:rPr lang="en-GB" sz="1400" u="sng" dirty="0">
                <a:solidFill>
                  <a:schemeClr val="accent2"/>
                </a:solidFill>
              </a:rPr>
              <a:t/>
            </a:r>
            <a:br>
              <a:rPr lang="en-GB" sz="1400" u="sng" dirty="0">
                <a:solidFill>
                  <a:schemeClr val="accent2"/>
                </a:solidFill>
              </a:rPr>
            </a:br>
            <a:endParaRPr lang="de-DE" sz="1400" dirty="0">
              <a:solidFill>
                <a:schemeClr val="accent2"/>
              </a:solidFill>
            </a:endParaRPr>
          </a:p>
          <a:p>
            <a:r>
              <a:rPr lang="en-GB" sz="1400" u="sng" dirty="0">
                <a:solidFill>
                  <a:schemeClr val="accent2"/>
                </a:solidFill>
                <a:hlinkClick r:id="rId3"/>
              </a:rPr>
              <a:t>https://</a:t>
            </a:r>
            <a:r>
              <a:rPr lang="en-GB" sz="1400" u="sng" dirty="0" smtClean="0">
                <a:solidFill>
                  <a:schemeClr val="accent2"/>
                </a:solidFill>
                <a:hlinkClick r:id="rId3"/>
              </a:rPr>
              <a:t>oa2020.org</a:t>
            </a:r>
            <a:endParaRPr lang="de-DE" sz="1400" dirty="0">
              <a:solidFill>
                <a:schemeClr val="accent2"/>
              </a:solidFill>
            </a:endParaRPr>
          </a:p>
        </p:txBody>
      </p:sp>
    </p:spTree>
    <p:extLst>
      <p:ext uri="{BB962C8B-B14F-4D97-AF65-F5344CB8AC3E}">
        <p14:creationId xmlns:p14="http://schemas.microsoft.com/office/powerpoint/2010/main" val="32775344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a:xfrm>
            <a:off x="0" y="-27296"/>
            <a:ext cx="990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14" name="Inhaltsplatzhalter 6"/>
          <p:cNvSpPr txBox="1">
            <a:spLocks/>
          </p:cNvSpPr>
          <p:nvPr>
            <p:custDataLst>
              <p:tags r:id="rId2"/>
            </p:custDataLst>
          </p:nvPr>
        </p:nvSpPr>
        <p:spPr>
          <a:xfrm>
            <a:off x="0" y="3181350"/>
            <a:ext cx="9906000" cy="495300"/>
          </a:xfrm>
          <a:prstGeom prst="rect">
            <a:avLst/>
          </a:prstGeom>
        </p:spPr>
        <p:txBody>
          <a:bodyPr vert="horz" wrap="square" lIns="0" tIns="0" rIns="0" bIns="0" rtlCol="0">
            <a:normAutofit/>
          </a:bodyPr>
          <a:lstStyle>
            <a:lvl1pPr marL="0" indent="0" algn="l" defTabSz="914400" rtl="0" eaLnBrk="1" latinLnBrk="0" hangingPunct="1">
              <a:lnSpc>
                <a:spcPts val="3600"/>
              </a:lnSpc>
              <a:spcBef>
                <a:spcPts val="200"/>
              </a:spcBef>
              <a:buClr>
                <a:schemeClr val="tx2"/>
              </a:buClr>
              <a:buFont typeface="Wingdings" pitchFamily="2" charset="2"/>
              <a:buNone/>
              <a:defRPr sz="2000" kern="1200">
                <a:solidFill>
                  <a:schemeClr val="tx2"/>
                </a:solidFill>
                <a:latin typeface="+mn-lt"/>
                <a:ea typeface="+mn-ea"/>
                <a:cs typeface="+mn-cs"/>
              </a:defRPr>
            </a:lvl1pPr>
            <a:lvl2pPr marL="180975" indent="-180975" algn="l" defTabSz="914400" rtl="0" eaLnBrk="1" latinLnBrk="0" hangingPunct="1">
              <a:lnSpc>
                <a:spcPts val="3600"/>
              </a:lnSpc>
              <a:spcBef>
                <a:spcPts val="200"/>
              </a:spcBef>
              <a:buClr>
                <a:schemeClr val="tx2"/>
              </a:buClr>
              <a:buFont typeface="Wingdings" pitchFamily="2" charset="2"/>
              <a:buChar char="§"/>
              <a:defRPr sz="2000" kern="1200">
                <a:solidFill>
                  <a:schemeClr val="tx2"/>
                </a:solidFill>
                <a:latin typeface="+mn-lt"/>
                <a:ea typeface="+mn-ea"/>
                <a:cs typeface="+mn-cs"/>
              </a:defRPr>
            </a:lvl2pPr>
            <a:lvl3pPr marL="355600" indent="-174625" algn="l" defTabSz="914400" rtl="0" eaLnBrk="1" latinLnBrk="0" hangingPunct="1">
              <a:lnSpc>
                <a:spcPts val="3600"/>
              </a:lnSpc>
              <a:spcBef>
                <a:spcPts val="200"/>
              </a:spcBef>
              <a:buClr>
                <a:schemeClr val="tx2"/>
              </a:buClr>
              <a:buFont typeface="Arial" pitchFamily="34" charset="0"/>
              <a:buChar char="–"/>
              <a:defRPr sz="2000" kern="1200">
                <a:solidFill>
                  <a:schemeClr val="tx2"/>
                </a:solidFill>
                <a:latin typeface="+mn-lt"/>
                <a:ea typeface="+mn-ea"/>
                <a:cs typeface="+mn-cs"/>
              </a:defRPr>
            </a:lvl3pPr>
            <a:lvl4pPr marL="538163" indent="-182563" algn="l" defTabSz="914400" rtl="0" eaLnBrk="1" latinLnBrk="0" hangingPunct="1">
              <a:lnSpc>
                <a:spcPts val="3600"/>
              </a:lnSpc>
              <a:spcBef>
                <a:spcPts val="200"/>
              </a:spcBef>
              <a:buClr>
                <a:schemeClr val="tx2"/>
              </a:buClr>
              <a:buFont typeface="Arial" pitchFamily="34" charset="0"/>
              <a:buChar char="•"/>
              <a:defRPr sz="2000" kern="1200">
                <a:solidFill>
                  <a:schemeClr val="tx2"/>
                </a:solidFill>
                <a:latin typeface="+mn-lt"/>
                <a:ea typeface="+mn-ea"/>
                <a:cs typeface="+mn-cs"/>
              </a:defRPr>
            </a:lvl4pPr>
            <a:lvl5pPr marL="719138" indent="-180975" algn="l" defTabSz="914400" rtl="0" eaLnBrk="1" latinLnBrk="0" hangingPunct="1">
              <a:lnSpc>
                <a:spcPts val="3600"/>
              </a:lnSpc>
              <a:spcBef>
                <a:spcPts val="200"/>
              </a:spcBef>
              <a:buClr>
                <a:schemeClr val="tx2"/>
              </a:buClr>
              <a:buFont typeface="Symbol" pitchFamily="18" charset="2"/>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Clr>
                <a:srgbClr val="606060"/>
              </a:buClr>
              <a:buFont typeface="Wingdings" pitchFamily="2" charset="2"/>
              <a:buNone/>
            </a:pPr>
            <a:r>
              <a:rPr lang="de-DE" sz="2800" b="1" dirty="0" smtClean="0">
                <a:solidFill>
                  <a:srgbClr val="F29A00"/>
                </a:solidFill>
              </a:rPr>
              <a:t>2. </a:t>
            </a:r>
            <a:r>
              <a:rPr lang="de-DE" sz="2800" b="1" smtClean="0">
                <a:solidFill>
                  <a:srgbClr val="F29A00"/>
                </a:solidFill>
              </a:rPr>
              <a:t>Über die </a:t>
            </a:r>
            <a:r>
              <a:rPr lang="de-DE" sz="2800" b="1" dirty="0" smtClean="0">
                <a:solidFill>
                  <a:srgbClr val="F29A00"/>
                </a:solidFill>
              </a:rPr>
              <a:t>Aktivierungsenergie neu nachdenken</a:t>
            </a:r>
            <a:endParaRPr lang="de-DE" sz="2800" b="1" dirty="0">
              <a:solidFill>
                <a:srgbClr val="F29A00"/>
              </a:solidFill>
            </a:endParaRPr>
          </a:p>
        </p:txBody>
      </p:sp>
      <p:grpSp>
        <p:nvGrpSpPr>
          <p:cNvPr id="18" name="Gruppieren 17"/>
          <p:cNvGrpSpPr/>
          <p:nvPr/>
        </p:nvGrpSpPr>
        <p:grpSpPr>
          <a:xfrm>
            <a:off x="0" y="3028950"/>
            <a:ext cx="9906000" cy="704850"/>
            <a:chOff x="0" y="1600200"/>
            <a:chExt cx="9906000" cy="495300"/>
          </a:xfrm>
        </p:grpSpPr>
        <p:cxnSp>
          <p:nvCxnSpPr>
            <p:cNvPr id="19" name="Gerade Verbindung 18"/>
            <p:cNvCxnSpPr/>
            <p:nvPr/>
          </p:nvCxnSpPr>
          <p:spPr>
            <a:xfrm>
              <a:off x="0" y="1600200"/>
              <a:ext cx="990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0" y="2095500"/>
              <a:ext cx="990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aphicFrame>
        <p:nvGraphicFramePr>
          <p:cNvPr id="11" name="Objekt 10" hidden="1"/>
          <p:cNvGraphicFramePr>
            <a:graphicFrameLocks/>
          </p:cNvGraphicFramePr>
          <p:nvPr>
            <p:custDataLst>
              <p:tags r:id="rId3"/>
            </p:custDataLst>
            <p:extLst>
              <p:ext uri="{D42A27DB-BD31-4B8C-83A1-F6EECF244321}">
                <p14:modId xmlns:p14="http://schemas.microsoft.com/office/powerpoint/2010/main" val="20067817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8308" name="think-cell Slide" r:id="rId6" imgW="341" imgH="341" progId="TCLayout.ActiveDocument.1">
                  <p:embed/>
                </p:oleObj>
              </mc:Choice>
              <mc:Fallback>
                <p:oleObj name="think-cell Slide" r:id="rId6" imgW="341" imgH="341"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5" name="Foliennummernplatzhalter 4"/>
          <p:cNvSpPr>
            <a:spLocks noGrp="1"/>
          </p:cNvSpPr>
          <p:nvPr>
            <p:ph type="sldNum" sz="quarter" idx="12"/>
            <p:custDataLst>
              <p:tags r:id="rId4"/>
            </p:custDataLst>
          </p:nvPr>
        </p:nvSpPr>
        <p:spPr/>
        <p:txBody>
          <a:bodyPr/>
          <a:lstStyle/>
          <a:p>
            <a:fld id="{4AD1E780-DE1C-4ECA-B5E5-863D0BC53287}" type="slidenum">
              <a:rPr lang="de-DE" smtClean="0">
                <a:solidFill>
                  <a:prstClr val="black">
                    <a:tint val="75000"/>
                  </a:prstClr>
                </a:solidFill>
              </a:rPr>
              <a:pPr/>
              <a:t>5</a:t>
            </a:fld>
            <a:endParaRPr lang="de-DE">
              <a:solidFill>
                <a:prstClr val="black">
                  <a:tint val="75000"/>
                </a:prstClr>
              </a:solidFill>
            </a:endParaRPr>
          </a:p>
        </p:txBody>
      </p:sp>
    </p:spTree>
    <p:extLst>
      <p:ext uri="{BB962C8B-B14F-4D97-AF65-F5344CB8AC3E}">
        <p14:creationId xmlns:p14="http://schemas.microsoft.com/office/powerpoint/2010/main" val="39700062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17"/>
          <p:cNvSpPr>
            <a:spLocks noGrp="1"/>
          </p:cNvSpPr>
          <p:nvPr>
            <p:ph type="body" sz="quarter" idx="13"/>
          </p:nvPr>
        </p:nvSpPr>
        <p:spPr>
          <a:xfrm>
            <a:off x="302342" y="426278"/>
            <a:ext cx="7302214" cy="697671"/>
          </a:xfrm>
        </p:spPr>
        <p:txBody>
          <a:bodyPr/>
          <a:lstStyle/>
          <a:p>
            <a:pPr>
              <a:spcBef>
                <a:spcPts val="0"/>
              </a:spcBef>
              <a:buClrTx/>
              <a:defRPr/>
            </a:pPr>
            <a:r>
              <a:rPr lang="de-DE" dirty="0" smtClean="0"/>
              <a:t>OA auf Aktivierung des Wissenschaftlers ausgerichtet</a:t>
            </a:r>
            <a:endParaRPr lang="de-DE" dirty="0"/>
          </a:p>
        </p:txBody>
      </p:sp>
      <p:sp>
        <p:nvSpPr>
          <p:cNvPr id="4" name="Ellipse 3"/>
          <p:cNvSpPr/>
          <p:nvPr/>
        </p:nvSpPr>
        <p:spPr>
          <a:xfrm>
            <a:off x="3276600" y="3778874"/>
            <a:ext cx="3295650" cy="1676400"/>
          </a:xfrm>
          <a:custGeom>
            <a:avLst/>
            <a:gdLst>
              <a:gd name="connsiteX0" fmla="*/ 0 w 3295650"/>
              <a:gd name="connsiteY0" fmla="*/ 1676400 h 3352800"/>
              <a:gd name="connsiteX1" fmla="*/ 1647825 w 3295650"/>
              <a:gd name="connsiteY1" fmla="*/ 0 h 3352800"/>
              <a:gd name="connsiteX2" fmla="*/ 3295650 w 3295650"/>
              <a:gd name="connsiteY2" fmla="*/ 1676400 h 3352800"/>
              <a:gd name="connsiteX3" fmla="*/ 1647825 w 3295650"/>
              <a:gd name="connsiteY3" fmla="*/ 3352800 h 3352800"/>
              <a:gd name="connsiteX4" fmla="*/ 0 w 3295650"/>
              <a:gd name="connsiteY4" fmla="*/ 1676400 h 3352800"/>
              <a:gd name="connsiteX0" fmla="*/ 0 w 3295650"/>
              <a:gd name="connsiteY0" fmla="*/ 1676400 h 1676400"/>
              <a:gd name="connsiteX1" fmla="*/ 1647825 w 3295650"/>
              <a:gd name="connsiteY1" fmla="*/ 0 h 1676400"/>
              <a:gd name="connsiteX2" fmla="*/ 3295650 w 3295650"/>
              <a:gd name="connsiteY2" fmla="*/ 1676400 h 1676400"/>
              <a:gd name="connsiteX3" fmla="*/ 0 w 3295650"/>
              <a:gd name="connsiteY3" fmla="*/ 1676400 h 1676400"/>
              <a:gd name="connsiteX0" fmla="*/ 0 w 3295650"/>
              <a:gd name="connsiteY0" fmla="*/ 1676400 h 1799178"/>
              <a:gd name="connsiteX1" fmla="*/ 1647825 w 3295650"/>
              <a:gd name="connsiteY1" fmla="*/ 0 h 1799178"/>
              <a:gd name="connsiteX2" fmla="*/ 3295650 w 3295650"/>
              <a:gd name="connsiteY2" fmla="*/ 1676400 h 1799178"/>
              <a:gd name="connsiteX3" fmla="*/ 0 w 3295650"/>
              <a:gd name="connsiteY3" fmla="*/ 1676400 h 1799178"/>
              <a:gd name="connsiteX0" fmla="*/ 0 w 3295650"/>
              <a:gd name="connsiteY0" fmla="*/ 1676400 h 1799178"/>
              <a:gd name="connsiteX1" fmla="*/ 1647825 w 3295650"/>
              <a:gd name="connsiteY1" fmla="*/ 0 h 1799178"/>
              <a:gd name="connsiteX2" fmla="*/ 3295650 w 3295650"/>
              <a:gd name="connsiteY2" fmla="*/ 1676400 h 1799178"/>
              <a:gd name="connsiteX3" fmla="*/ 0 w 3295650"/>
              <a:gd name="connsiteY3" fmla="*/ 1676400 h 1799178"/>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6400"/>
              <a:gd name="connsiteX1" fmla="*/ 1647825 w 3295650"/>
              <a:gd name="connsiteY1" fmla="*/ 0 h 1676400"/>
              <a:gd name="connsiteX2" fmla="*/ 3295650 w 3295650"/>
              <a:gd name="connsiteY2" fmla="*/ 1676400 h 1676400"/>
              <a:gd name="connsiteX3" fmla="*/ 0 w 3295650"/>
              <a:gd name="connsiteY3" fmla="*/ 1676400 h 1676400"/>
            </a:gdLst>
            <a:ahLst/>
            <a:cxnLst>
              <a:cxn ang="0">
                <a:pos x="connsiteX0" y="connsiteY0"/>
              </a:cxn>
              <a:cxn ang="0">
                <a:pos x="connsiteX1" y="connsiteY1"/>
              </a:cxn>
              <a:cxn ang="0">
                <a:pos x="connsiteX2" y="connsiteY2"/>
              </a:cxn>
              <a:cxn ang="0">
                <a:pos x="connsiteX3" y="connsiteY3"/>
              </a:cxn>
            </a:cxnLst>
            <a:rect l="l" t="t" r="r" b="b"/>
            <a:pathLst>
              <a:path w="3295650" h="1676400">
                <a:moveTo>
                  <a:pt x="0" y="1676400"/>
                </a:moveTo>
                <a:cubicBezTo>
                  <a:pt x="0" y="750550"/>
                  <a:pt x="737756" y="0"/>
                  <a:pt x="1647825" y="0"/>
                </a:cubicBezTo>
                <a:cubicBezTo>
                  <a:pt x="2557894" y="0"/>
                  <a:pt x="3295650" y="750550"/>
                  <a:pt x="3295650" y="1676400"/>
                </a:cubicBezTo>
                <a:lnTo>
                  <a:pt x="0" y="1676400"/>
                </a:lnTo>
                <a:close/>
              </a:path>
            </a:pathLst>
          </a:cu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pic>
        <p:nvPicPr>
          <p:cNvPr id="54" name="Grafik 53"/>
          <p:cNvPicPr>
            <a:picLocks noChangeAspect="1"/>
          </p:cNvPicPr>
          <p:nvPr/>
        </p:nvPicPr>
        <p:blipFill>
          <a:blip r:embed="rId13">
            <a:grayscl/>
            <a:extLst>
              <a:ext uri="{28A0092B-C50C-407E-A947-70E740481C1C}">
                <a14:useLocalDpi xmlns:a14="http://schemas.microsoft.com/office/drawing/2010/main" val="0"/>
              </a:ext>
            </a:extLst>
          </a:blip>
          <a:stretch>
            <a:fillRect/>
          </a:stretch>
        </p:blipFill>
        <p:spPr>
          <a:xfrm>
            <a:off x="7900258" y="4177096"/>
            <a:ext cx="556741" cy="865555"/>
          </a:xfrm>
          <a:prstGeom prst="rect">
            <a:avLst/>
          </a:prstGeom>
        </p:spPr>
      </p:pic>
      <p:cxnSp>
        <p:nvCxnSpPr>
          <p:cNvPr id="56" name="Gerade Verbindung 55"/>
          <p:cNvCxnSpPr/>
          <p:nvPr/>
        </p:nvCxnSpPr>
        <p:spPr>
          <a:xfrm flipV="1">
            <a:off x="4023015" y="3059928"/>
            <a:ext cx="0" cy="149767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63" name="Rechteck 62"/>
          <p:cNvSpPr/>
          <p:nvPr/>
        </p:nvSpPr>
        <p:spPr>
          <a:xfrm>
            <a:off x="3745955" y="2250962"/>
            <a:ext cx="530492" cy="79573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64" name="Inhaltsplatzhalter 12"/>
          <p:cNvSpPr txBox="1">
            <a:spLocks/>
          </p:cNvSpPr>
          <p:nvPr/>
        </p:nvSpPr>
        <p:spPr>
          <a:xfrm>
            <a:off x="3835826" y="2368656"/>
            <a:ext cx="478649" cy="553998"/>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solidFill>
                  <a:srgbClr val="606060"/>
                </a:solidFill>
              </a:rPr>
              <a:t>OA Jour-</a:t>
            </a:r>
            <a:r>
              <a:rPr lang="de-DE" sz="1200" dirty="0" err="1" smtClean="0">
                <a:solidFill>
                  <a:srgbClr val="606060"/>
                </a:solidFill>
              </a:rPr>
              <a:t>nals</a:t>
            </a:r>
            <a:endParaRPr lang="de-DE" sz="1200" dirty="0">
              <a:solidFill>
                <a:srgbClr val="606060"/>
              </a:solidFill>
            </a:endParaRPr>
          </a:p>
        </p:txBody>
      </p:sp>
      <p:cxnSp>
        <p:nvCxnSpPr>
          <p:cNvPr id="17" name="Gerade Verbindung 16"/>
          <p:cNvCxnSpPr/>
          <p:nvPr/>
        </p:nvCxnSpPr>
        <p:spPr>
          <a:xfrm flipV="1">
            <a:off x="4595516" y="2592001"/>
            <a:ext cx="7991" cy="1540799"/>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66" name="Rechteck 65"/>
          <p:cNvSpPr/>
          <p:nvPr/>
        </p:nvSpPr>
        <p:spPr>
          <a:xfrm>
            <a:off x="4316856" y="1912985"/>
            <a:ext cx="533225" cy="675953"/>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67" name="Inhaltsplatzhalter 12"/>
          <p:cNvSpPr txBox="1">
            <a:spLocks/>
          </p:cNvSpPr>
          <p:nvPr/>
        </p:nvSpPr>
        <p:spPr>
          <a:xfrm>
            <a:off x="4442393" y="2067212"/>
            <a:ext cx="478649" cy="369332"/>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smtClean="0">
                <a:solidFill>
                  <a:srgbClr val="606060"/>
                </a:solidFill>
              </a:rPr>
              <a:t>Poli-cies</a:t>
            </a:r>
            <a:endParaRPr lang="de-DE" sz="1200" dirty="0">
              <a:solidFill>
                <a:srgbClr val="606060"/>
              </a:solidFill>
            </a:endParaRPr>
          </a:p>
        </p:txBody>
      </p:sp>
      <p:cxnSp>
        <p:nvCxnSpPr>
          <p:cNvPr id="55" name="Gerade Verbindung 54"/>
          <p:cNvCxnSpPr/>
          <p:nvPr/>
        </p:nvCxnSpPr>
        <p:spPr>
          <a:xfrm flipV="1">
            <a:off x="5298215" y="2923591"/>
            <a:ext cx="0" cy="1125597"/>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72" name="Rechteck 71"/>
          <p:cNvSpPr/>
          <p:nvPr/>
        </p:nvSpPr>
        <p:spPr>
          <a:xfrm>
            <a:off x="4977907" y="2070415"/>
            <a:ext cx="606402" cy="853176"/>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73" name="Inhaltsplatzhalter 12"/>
          <p:cNvSpPr txBox="1">
            <a:spLocks/>
          </p:cNvSpPr>
          <p:nvPr/>
        </p:nvSpPr>
        <p:spPr>
          <a:xfrm>
            <a:off x="5021375" y="2229064"/>
            <a:ext cx="579580" cy="369332"/>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smtClean="0">
                <a:solidFill>
                  <a:srgbClr val="606060"/>
                </a:solidFill>
              </a:rPr>
              <a:t>Reposi</a:t>
            </a:r>
            <a:r>
              <a:rPr lang="de-DE" sz="1200" dirty="0" smtClean="0">
                <a:solidFill>
                  <a:srgbClr val="606060"/>
                </a:solidFill>
              </a:rPr>
              <a:t>-tories</a:t>
            </a:r>
            <a:endParaRPr lang="de-DE" sz="1200" dirty="0">
              <a:solidFill>
                <a:srgbClr val="606060"/>
              </a:solidFill>
            </a:endParaRPr>
          </a:p>
        </p:txBody>
      </p:sp>
      <p:cxnSp>
        <p:nvCxnSpPr>
          <p:cNvPr id="58" name="Gerade Verbindung 57"/>
          <p:cNvCxnSpPr>
            <a:endCxn id="69" idx="2"/>
          </p:cNvCxnSpPr>
          <p:nvPr/>
        </p:nvCxnSpPr>
        <p:spPr>
          <a:xfrm flipH="1" flipV="1">
            <a:off x="5941009" y="3256578"/>
            <a:ext cx="1698" cy="151702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Rechteck 68"/>
          <p:cNvSpPr/>
          <p:nvPr/>
        </p:nvSpPr>
        <p:spPr>
          <a:xfrm>
            <a:off x="5564080" y="2199132"/>
            <a:ext cx="753858" cy="1057446"/>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70" name="Inhaltsplatzhalter 12"/>
          <p:cNvSpPr txBox="1">
            <a:spLocks/>
          </p:cNvSpPr>
          <p:nvPr/>
        </p:nvSpPr>
        <p:spPr>
          <a:xfrm>
            <a:off x="5735459" y="2450856"/>
            <a:ext cx="778796" cy="553998"/>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smtClean="0">
                <a:solidFill>
                  <a:srgbClr val="606060"/>
                </a:solidFill>
              </a:rPr>
              <a:t>Publi</a:t>
            </a:r>
            <a:r>
              <a:rPr lang="de-DE" sz="1200" dirty="0" smtClean="0">
                <a:solidFill>
                  <a:srgbClr val="606060"/>
                </a:solidFill>
              </a:rPr>
              <a:t>-</a:t>
            </a:r>
            <a:br>
              <a:rPr lang="de-DE" sz="1200" dirty="0" smtClean="0">
                <a:solidFill>
                  <a:srgbClr val="606060"/>
                </a:solidFill>
              </a:rPr>
            </a:br>
            <a:r>
              <a:rPr lang="de-DE" sz="1200" dirty="0" err="1" smtClean="0">
                <a:solidFill>
                  <a:srgbClr val="606060"/>
                </a:solidFill>
              </a:rPr>
              <a:t>cation</a:t>
            </a:r>
            <a:r>
              <a:rPr lang="de-DE" sz="1200" dirty="0" smtClean="0">
                <a:solidFill>
                  <a:srgbClr val="606060"/>
                </a:solidFill>
              </a:rPr>
              <a:t> </a:t>
            </a:r>
            <a:r>
              <a:rPr lang="de-DE" sz="1200" dirty="0" err="1" smtClean="0">
                <a:solidFill>
                  <a:srgbClr val="606060"/>
                </a:solidFill>
              </a:rPr>
              <a:t>funds</a:t>
            </a:r>
            <a:endParaRPr lang="de-DE" sz="1200" dirty="0">
              <a:solidFill>
                <a:srgbClr val="606060"/>
              </a:solidFill>
            </a:endParaRPr>
          </a:p>
        </p:txBody>
      </p:sp>
      <p:cxnSp>
        <p:nvCxnSpPr>
          <p:cNvPr id="57" name="Gerade Verbindung 56"/>
          <p:cNvCxnSpPr/>
          <p:nvPr/>
        </p:nvCxnSpPr>
        <p:spPr>
          <a:xfrm flipV="1">
            <a:off x="4985107" y="3457796"/>
            <a:ext cx="0" cy="81866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60" name="Rechteck 59"/>
          <p:cNvSpPr/>
          <p:nvPr/>
        </p:nvSpPr>
        <p:spPr>
          <a:xfrm>
            <a:off x="4737199" y="2700000"/>
            <a:ext cx="485508" cy="758176"/>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61" name="Inhaltsplatzhalter 12"/>
          <p:cNvSpPr txBox="1">
            <a:spLocks/>
          </p:cNvSpPr>
          <p:nvPr/>
        </p:nvSpPr>
        <p:spPr>
          <a:xfrm>
            <a:off x="4784646" y="2906693"/>
            <a:ext cx="438061" cy="369332"/>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a:solidFill>
                  <a:srgbClr val="606060"/>
                </a:solidFill>
              </a:rPr>
              <a:t>M</a:t>
            </a:r>
            <a:r>
              <a:rPr lang="de-DE" sz="1200" dirty="0" smtClean="0">
                <a:solidFill>
                  <a:srgbClr val="606060"/>
                </a:solidFill>
              </a:rPr>
              <a:t>an-dates</a:t>
            </a:r>
            <a:endParaRPr lang="de-DE" sz="1200" dirty="0">
              <a:solidFill>
                <a:srgbClr val="606060"/>
              </a:solidFill>
            </a:endParaRPr>
          </a:p>
        </p:txBody>
      </p:sp>
      <p:sp>
        <p:nvSpPr>
          <p:cNvPr id="52" name="Inhaltsplatzhalter 2"/>
          <p:cNvSpPr txBox="1">
            <a:spLocks/>
          </p:cNvSpPr>
          <p:nvPr>
            <p:custDataLst>
              <p:tags r:id="rId1"/>
            </p:custDataLst>
          </p:nvPr>
        </p:nvSpPr>
        <p:spPr>
          <a:xfrm>
            <a:off x="7639421"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e</a:t>
            </a:r>
            <a:endParaRPr lang="de-DE" sz="900" b="1" dirty="0">
              <a:solidFill>
                <a:srgbClr val="C0C0C0"/>
              </a:solidFill>
            </a:endParaRPr>
          </a:p>
        </p:txBody>
      </p:sp>
      <p:sp>
        <p:nvSpPr>
          <p:cNvPr id="43" name="Inhaltsplatzhalter 2"/>
          <p:cNvSpPr txBox="1">
            <a:spLocks/>
          </p:cNvSpPr>
          <p:nvPr>
            <p:custDataLst>
              <p:tags r:id="rId2"/>
            </p:custDataLst>
          </p:nvPr>
        </p:nvSpPr>
        <p:spPr>
          <a:xfrm>
            <a:off x="7796134"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s</a:t>
            </a:r>
            <a:endParaRPr lang="de-DE" sz="900" b="1" dirty="0">
              <a:solidFill>
                <a:srgbClr val="C0C0C0"/>
              </a:solidFill>
            </a:endParaRPr>
          </a:p>
        </p:txBody>
      </p:sp>
      <p:sp>
        <p:nvSpPr>
          <p:cNvPr id="44" name="Inhaltsplatzhalter 2"/>
          <p:cNvSpPr txBox="1">
            <a:spLocks/>
          </p:cNvSpPr>
          <p:nvPr>
            <p:custDataLst>
              <p:tags r:id="rId3"/>
            </p:custDataLst>
          </p:nvPr>
        </p:nvSpPr>
        <p:spPr>
          <a:xfrm>
            <a:off x="7952847"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e</a:t>
            </a:r>
            <a:endParaRPr lang="de-DE" sz="900" b="1" dirty="0">
              <a:solidFill>
                <a:srgbClr val="C0C0C0"/>
              </a:solidFill>
            </a:endParaRPr>
          </a:p>
        </p:txBody>
      </p:sp>
      <p:sp>
        <p:nvSpPr>
          <p:cNvPr id="45" name="Inhaltsplatzhalter 2"/>
          <p:cNvSpPr txBox="1">
            <a:spLocks/>
          </p:cNvSpPr>
          <p:nvPr>
            <p:custDataLst>
              <p:tags r:id="rId4"/>
            </p:custDataLst>
          </p:nvPr>
        </p:nvSpPr>
        <p:spPr>
          <a:xfrm>
            <a:off x="8109560"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a</a:t>
            </a:r>
            <a:endParaRPr lang="de-DE" sz="900" b="1" dirty="0">
              <a:solidFill>
                <a:srgbClr val="C0C0C0"/>
              </a:solidFill>
            </a:endParaRPr>
          </a:p>
        </p:txBody>
      </p:sp>
      <p:sp>
        <p:nvSpPr>
          <p:cNvPr id="46" name="Inhaltsplatzhalter 2"/>
          <p:cNvSpPr txBox="1">
            <a:spLocks/>
          </p:cNvSpPr>
          <p:nvPr>
            <p:custDataLst>
              <p:tags r:id="rId5"/>
            </p:custDataLst>
          </p:nvPr>
        </p:nvSpPr>
        <p:spPr>
          <a:xfrm>
            <a:off x="8266273"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r</a:t>
            </a:r>
            <a:endParaRPr lang="de-DE" sz="900" b="1" dirty="0">
              <a:solidFill>
                <a:srgbClr val="C0C0C0"/>
              </a:solidFill>
            </a:endParaRPr>
          </a:p>
        </p:txBody>
      </p:sp>
      <p:sp>
        <p:nvSpPr>
          <p:cNvPr id="47" name="Inhaltsplatzhalter 2"/>
          <p:cNvSpPr txBox="1">
            <a:spLocks/>
          </p:cNvSpPr>
          <p:nvPr>
            <p:custDataLst>
              <p:tags r:id="rId6"/>
            </p:custDataLst>
          </p:nvPr>
        </p:nvSpPr>
        <p:spPr>
          <a:xfrm>
            <a:off x="8384887"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c</a:t>
            </a:r>
            <a:endParaRPr lang="de-DE" sz="900" b="1" dirty="0">
              <a:solidFill>
                <a:srgbClr val="C0C0C0"/>
              </a:solidFill>
            </a:endParaRPr>
          </a:p>
        </p:txBody>
      </p:sp>
      <p:sp>
        <p:nvSpPr>
          <p:cNvPr id="48" name="Inhaltsplatzhalter 2"/>
          <p:cNvSpPr txBox="1">
            <a:spLocks/>
          </p:cNvSpPr>
          <p:nvPr>
            <p:custDataLst>
              <p:tags r:id="rId7"/>
            </p:custDataLst>
          </p:nvPr>
        </p:nvSpPr>
        <p:spPr>
          <a:xfrm>
            <a:off x="8524931"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h</a:t>
            </a:r>
            <a:endParaRPr lang="de-DE" sz="900" b="1" dirty="0">
              <a:solidFill>
                <a:srgbClr val="C0C0C0"/>
              </a:solidFill>
            </a:endParaRPr>
          </a:p>
        </p:txBody>
      </p:sp>
      <p:sp>
        <p:nvSpPr>
          <p:cNvPr id="49" name="Inhaltsplatzhalter 2"/>
          <p:cNvSpPr txBox="1">
            <a:spLocks/>
          </p:cNvSpPr>
          <p:nvPr>
            <p:custDataLst>
              <p:tags r:id="rId8"/>
            </p:custDataLst>
          </p:nvPr>
        </p:nvSpPr>
        <p:spPr>
          <a:xfrm>
            <a:off x="8691169"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e</a:t>
            </a:r>
            <a:endParaRPr lang="de-DE" sz="900" b="1" dirty="0">
              <a:solidFill>
                <a:srgbClr val="C0C0C0"/>
              </a:solidFill>
            </a:endParaRPr>
          </a:p>
        </p:txBody>
      </p:sp>
      <p:sp>
        <p:nvSpPr>
          <p:cNvPr id="50" name="Inhaltsplatzhalter 2"/>
          <p:cNvSpPr txBox="1">
            <a:spLocks/>
          </p:cNvSpPr>
          <p:nvPr>
            <p:custDataLst>
              <p:tags r:id="rId9"/>
            </p:custDataLst>
          </p:nvPr>
        </p:nvSpPr>
        <p:spPr>
          <a:xfrm>
            <a:off x="8838361"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r</a:t>
            </a:r>
            <a:endParaRPr lang="de-DE" sz="900" b="1" dirty="0">
              <a:solidFill>
                <a:srgbClr val="C0C0C0"/>
              </a:solidFill>
            </a:endParaRPr>
          </a:p>
        </p:txBody>
      </p:sp>
      <p:sp>
        <p:nvSpPr>
          <p:cNvPr id="51" name="Inhaltsplatzhalter 2"/>
          <p:cNvSpPr txBox="1">
            <a:spLocks/>
          </p:cNvSpPr>
          <p:nvPr>
            <p:custDataLst>
              <p:tags r:id="rId10"/>
            </p:custDataLst>
          </p:nvPr>
        </p:nvSpPr>
        <p:spPr>
          <a:xfrm>
            <a:off x="7444608"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R</a:t>
            </a:r>
            <a:endParaRPr lang="de-DE" sz="900" b="1" dirty="0">
              <a:solidFill>
                <a:srgbClr val="C0C0C0"/>
              </a:solidFill>
            </a:endParaRPr>
          </a:p>
        </p:txBody>
      </p:sp>
      <p:pic>
        <p:nvPicPr>
          <p:cNvPr id="53" name="Picture 4" descr="\\psf\Host\Volumes\Kerstin 2014\20141213\_Kerstin_141312\_form und glanz\Kunden\MPG_MPDL\18_Logo ESAC\220px-Open_Access_logo_PLoS_white.png"/>
          <p:cNvPicPr>
            <a:picLocks noChangeAspect="1" noChangeArrowheads="1"/>
          </p:cNvPicPr>
          <p:nvPr/>
        </p:nvPicPr>
        <p:blipFill>
          <a:blip r:embed="rId14"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301077" y="4195839"/>
            <a:ext cx="546170" cy="854012"/>
          </a:xfrm>
          <a:prstGeom prst="rect">
            <a:avLst/>
          </a:prstGeom>
          <a:noFill/>
          <a:extLst>
            <a:ext uri="{909E8E84-426E-40DD-AFC4-6F175D3DCCD1}">
              <a14:hiddenFill xmlns:a14="http://schemas.microsoft.com/office/drawing/2010/main">
                <a:solidFill>
                  <a:srgbClr val="FFFFFF"/>
                </a:solidFill>
              </a14:hiddenFill>
            </a:ext>
          </a:extLst>
        </p:spPr>
      </p:pic>
      <p:sp>
        <p:nvSpPr>
          <p:cNvPr id="97" name="Rechteck 96"/>
          <p:cNvSpPr/>
          <p:nvPr/>
        </p:nvSpPr>
        <p:spPr>
          <a:xfrm>
            <a:off x="304801" y="5997039"/>
            <a:ext cx="8991600" cy="660936"/>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rgbClr val="606060"/>
              </a:solidFill>
            </a:endParaRPr>
          </a:p>
        </p:txBody>
      </p:sp>
      <p:sp>
        <p:nvSpPr>
          <p:cNvPr id="98" name="Inhaltsplatzhalter 8"/>
          <p:cNvSpPr txBox="1">
            <a:spLocks/>
          </p:cNvSpPr>
          <p:nvPr/>
        </p:nvSpPr>
        <p:spPr>
          <a:xfrm>
            <a:off x="403761" y="6036368"/>
            <a:ext cx="8892640" cy="553998"/>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buClr>
                <a:srgbClr val="606060"/>
              </a:buClr>
            </a:pPr>
            <a:r>
              <a:rPr lang="de-DE" sz="1800" b="1" dirty="0" smtClean="0">
                <a:solidFill>
                  <a:srgbClr val="606060"/>
                </a:solidFill>
              </a:rPr>
              <a:t>Durch Maßnahmen wie Mandate, </a:t>
            </a:r>
            <a:r>
              <a:rPr lang="de-DE" sz="1800" b="1" dirty="0" err="1" smtClean="0">
                <a:solidFill>
                  <a:srgbClr val="606060"/>
                </a:solidFill>
              </a:rPr>
              <a:t>Policies</a:t>
            </a:r>
            <a:r>
              <a:rPr lang="de-DE" sz="1800" b="1" dirty="0" smtClean="0">
                <a:solidFill>
                  <a:srgbClr val="606060"/>
                </a:solidFill>
              </a:rPr>
              <a:t> und Handreichungen </a:t>
            </a:r>
            <a:br>
              <a:rPr lang="de-DE" sz="1800" b="1" dirty="0" smtClean="0">
                <a:solidFill>
                  <a:srgbClr val="606060"/>
                </a:solidFill>
              </a:rPr>
            </a:br>
            <a:r>
              <a:rPr lang="de-DE" sz="1800" b="1" dirty="0" smtClean="0">
                <a:solidFill>
                  <a:srgbClr val="606060"/>
                </a:solidFill>
              </a:rPr>
              <a:t>sollen die Wissenschaftler </a:t>
            </a:r>
            <a:r>
              <a:rPr lang="de-DE" sz="1800" b="1" i="1" dirty="0" smtClean="0">
                <a:solidFill>
                  <a:srgbClr val="606060"/>
                </a:solidFill>
              </a:rPr>
              <a:t>zu OA bewegt </a:t>
            </a:r>
            <a:r>
              <a:rPr lang="de-DE" sz="1800" b="1" dirty="0" smtClean="0">
                <a:solidFill>
                  <a:srgbClr val="606060"/>
                </a:solidFill>
              </a:rPr>
              <a:t>werden</a:t>
            </a:r>
            <a:endParaRPr lang="de-DE" sz="1800" b="1" dirty="0">
              <a:solidFill>
                <a:srgbClr val="606060"/>
              </a:solidFill>
            </a:endParaRPr>
          </a:p>
        </p:txBody>
      </p:sp>
      <p:pic>
        <p:nvPicPr>
          <p:cNvPr id="65" name="Grafik 64"/>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303169" y="4192863"/>
            <a:ext cx="544078" cy="848421"/>
          </a:xfrm>
          <a:prstGeom prst="rect">
            <a:avLst/>
          </a:prstGeom>
        </p:spPr>
      </p:pic>
      <p:sp>
        <p:nvSpPr>
          <p:cNvPr id="34" name="Foliennummernplatzhalter 4"/>
          <p:cNvSpPr>
            <a:spLocks noGrp="1"/>
          </p:cNvSpPr>
          <p:nvPr>
            <p:ph type="sldNum" sz="quarter" idx="12"/>
          </p:nvPr>
        </p:nvSpPr>
        <p:spPr>
          <a:xfrm>
            <a:off x="8931442" y="6659477"/>
            <a:ext cx="773912" cy="167164"/>
          </a:xfrm>
        </p:spPr>
        <p:txBody>
          <a:bodyPr/>
          <a:lstStyle/>
          <a:p>
            <a:fld id="{4AD1E780-DE1C-4ECA-B5E5-863D0BC53287}" type="slidenum">
              <a:rPr lang="de-DE" smtClean="0">
                <a:solidFill>
                  <a:prstClr val="black">
                    <a:tint val="75000"/>
                  </a:prstClr>
                </a:solidFill>
              </a:rPr>
              <a:pPr/>
              <a:t>6</a:t>
            </a:fld>
            <a:endParaRPr lang="de-DE" dirty="0">
              <a:solidFill>
                <a:prstClr val="black">
                  <a:tint val="75000"/>
                </a:prstClr>
              </a:solidFill>
            </a:endParaRPr>
          </a:p>
        </p:txBody>
      </p:sp>
    </p:spTree>
    <p:extLst>
      <p:ext uri="{BB962C8B-B14F-4D97-AF65-F5344CB8AC3E}">
        <p14:creationId xmlns:p14="http://schemas.microsoft.com/office/powerpoint/2010/main" val="170543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nodeType="with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10" presetClass="entr" presetSubtype="0" fill="hold" nodeType="withEffect">
                                  <p:stCondLst>
                                    <p:cond delay="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500"/>
                                        <p:tgtEl>
                                          <p:spTgt spid="56"/>
                                        </p:tgtEl>
                                      </p:cBhvr>
                                    </p:animEffect>
                                  </p:childTnLst>
                                </p:cTn>
                              </p:par>
                              <p:par>
                                <p:cTn id="14" presetID="10" presetClass="entr" presetSubtype="0" fill="hold" nodeType="withEffect">
                                  <p:stCondLst>
                                    <p:cond delay="0"/>
                                  </p:stCondLst>
                                  <p:childTnLst>
                                    <p:set>
                                      <p:cBhvr>
                                        <p:cTn id="15" dur="1" fill="hold">
                                          <p:stCondLst>
                                            <p:cond delay="0"/>
                                          </p:stCondLst>
                                        </p:cTn>
                                        <p:tgtEl>
                                          <p:spTgt spid="57"/>
                                        </p:tgtEl>
                                        <p:attrNameLst>
                                          <p:attrName>style.visibility</p:attrName>
                                        </p:attrNameLst>
                                      </p:cBhvr>
                                      <p:to>
                                        <p:strVal val="visible"/>
                                      </p:to>
                                    </p:set>
                                    <p:animEffect transition="in" filter="fade">
                                      <p:cBhvr>
                                        <p:cTn id="16" dur="500"/>
                                        <p:tgtEl>
                                          <p:spTgt spid="57"/>
                                        </p:tgtEl>
                                      </p:cBhvr>
                                    </p:animEffect>
                                  </p:childTnLst>
                                </p:cTn>
                              </p:par>
                              <p:par>
                                <p:cTn id="17" presetID="10"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3"/>
                                        </p:tgtEl>
                                        <p:attrNameLst>
                                          <p:attrName>style.visibility</p:attrName>
                                        </p:attrNameLst>
                                      </p:cBhvr>
                                      <p:to>
                                        <p:strVal val="visible"/>
                                      </p:to>
                                    </p:set>
                                    <p:animEffect transition="in" filter="fade">
                                      <p:cBhvr>
                                        <p:cTn id="22" dur="500"/>
                                        <p:tgtEl>
                                          <p:spTgt spid="6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animEffect transition="in" filter="fade">
                                      <p:cBhvr>
                                        <p:cTn id="25" dur="500"/>
                                        <p:tgtEl>
                                          <p:spTgt spid="6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9"/>
                                        </p:tgtEl>
                                        <p:attrNameLst>
                                          <p:attrName>style.visibility</p:attrName>
                                        </p:attrNameLst>
                                      </p:cBhvr>
                                      <p:to>
                                        <p:strVal val="visible"/>
                                      </p:to>
                                    </p:set>
                                    <p:animEffect transition="in" filter="fade">
                                      <p:cBhvr>
                                        <p:cTn id="28" dur="500"/>
                                        <p:tgtEl>
                                          <p:spTgt spid="6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0"/>
                                        </p:tgtEl>
                                        <p:attrNameLst>
                                          <p:attrName>style.visibility</p:attrName>
                                        </p:attrNameLst>
                                      </p:cBhvr>
                                      <p:to>
                                        <p:strVal val="visible"/>
                                      </p:to>
                                    </p:set>
                                    <p:animEffect transition="in" filter="fade">
                                      <p:cBhvr>
                                        <p:cTn id="31" dur="500"/>
                                        <p:tgtEl>
                                          <p:spTgt spid="7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6"/>
                                        </p:tgtEl>
                                        <p:attrNameLst>
                                          <p:attrName>style.visibility</p:attrName>
                                        </p:attrNameLst>
                                      </p:cBhvr>
                                      <p:to>
                                        <p:strVal val="visible"/>
                                      </p:to>
                                    </p:set>
                                    <p:animEffect transition="in" filter="fade">
                                      <p:cBhvr>
                                        <p:cTn id="34" dur="500"/>
                                        <p:tgtEl>
                                          <p:spTgt spid="6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0"/>
                                        </p:tgtEl>
                                        <p:attrNameLst>
                                          <p:attrName>style.visibility</p:attrName>
                                        </p:attrNameLst>
                                      </p:cBhvr>
                                      <p:to>
                                        <p:strVal val="visible"/>
                                      </p:to>
                                    </p:set>
                                    <p:animEffect transition="in" filter="fade">
                                      <p:cBhvr>
                                        <p:cTn id="40" dur="500"/>
                                        <p:tgtEl>
                                          <p:spTgt spid="6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1"/>
                                        </p:tgtEl>
                                        <p:attrNameLst>
                                          <p:attrName>style.visibility</p:attrName>
                                        </p:attrNameLst>
                                      </p:cBhvr>
                                      <p:to>
                                        <p:strVal val="visible"/>
                                      </p:to>
                                    </p:set>
                                    <p:animEffect transition="in" filter="fade">
                                      <p:cBhvr>
                                        <p:cTn id="43" dur="500"/>
                                        <p:tgtEl>
                                          <p:spTgt spid="6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2"/>
                                        </p:tgtEl>
                                        <p:attrNameLst>
                                          <p:attrName>style.visibility</p:attrName>
                                        </p:attrNameLst>
                                      </p:cBhvr>
                                      <p:to>
                                        <p:strVal val="visible"/>
                                      </p:to>
                                    </p:set>
                                    <p:animEffect transition="in" filter="fade">
                                      <p:cBhvr>
                                        <p:cTn id="46" dur="500"/>
                                        <p:tgtEl>
                                          <p:spTgt spid="7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3"/>
                                        </p:tgtEl>
                                        <p:attrNameLst>
                                          <p:attrName>style.visibility</p:attrName>
                                        </p:attrNameLst>
                                      </p:cBhvr>
                                      <p:to>
                                        <p:strVal val="visible"/>
                                      </p:to>
                                    </p:set>
                                    <p:animEffect transition="in" filter="fade">
                                      <p:cBhvr>
                                        <p:cTn id="49" dur="500"/>
                                        <p:tgtEl>
                                          <p:spTgt spid="7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97"/>
                                        </p:tgtEl>
                                        <p:attrNameLst>
                                          <p:attrName>style.visibility</p:attrName>
                                        </p:attrNameLst>
                                      </p:cBhvr>
                                      <p:to>
                                        <p:strVal val="visible"/>
                                      </p:to>
                                    </p:set>
                                    <p:animEffect transition="in" filter="fade">
                                      <p:cBhvr>
                                        <p:cTn id="52" dur="500"/>
                                        <p:tgtEl>
                                          <p:spTgt spid="9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98"/>
                                        </p:tgtEl>
                                        <p:attrNameLst>
                                          <p:attrName>style.visibility</p:attrName>
                                        </p:attrNameLst>
                                      </p:cBhvr>
                                      <p:to>
                                        <p:strVal val="visible"/>
                                      </p:to>
                                    </p:set>
                                    <p:animEffect transition="in" filter="fade">
                                      <p:cBhvr>
                                        <p:cTn id="55" dur="500"/>
                                        <p:tgtEl>
                                          <p:spTgt spid="98"/>
                                        </p:tgtEl>
                                      </p:cBhvr>
                                    </p:animEffect>
                                  </p:childTnLst>
                                </p:cTn>
                              </p:par>
                            </p:childTnLst>
                          </p:cTn>
                        </p:par>
                      </p:childTnLst>
                    </p:cTn>
                  </p:par>
                  <p:par>
                    <p:cTn id="56" fill="hold">
                      <p:stCondLst>
                        <p:cond delay="indefinite"/>
                      </p:stCondLst>
                      <p:childTnLst>
                        <p:par>
                          <p:cTn id="57" fill="hold">
                            <p:stCondLst>
                              <p:cond delay="0"/>
                            </p:stCondLst>
                            <p:childTnLst>
                              <p:par>
                                <p:cTn id="58" presetID="0" presetClass="path" presetSubtype="0" accel="50000" decel="50000" fill="hold" grpId="0" nodeType="clickEffect">
                                  <p:stCondLst>
                                    <p:cond delay="0"/>
                                  </p:stCondLst>
                                  <p:childTnLst>
                                    <p:animMotion origin="layout" path="M 4.7925E-6 2.66081E-6 C -0.01266 -0.01342 -0.05 -0.04443 -0.07563 -0.08052 C -0.10127 -0.11662 -0.1245 -0.18533 -0.15415 -0.21587 C -0.18379 -0.24642 -0.22192 -0.2596 -0.25365 -0.26331 C -0.28538 -0.26701 -0.32559 -0.24341 -0.3445 -0.23809 " pathEditMode="relative" rAng="0" ptsTypes="aaaaa">
                                      <p:cBhvr>
                                        <p:cTn id="59" dur="5000" fill="hold"/>
                                        <p:tgtEl>
                                          <p:spTgt spid="51"/>
                                        </p:tgtEl>
                                        <p:attrNameLst>
                                          <p:attrName>ppt_x</p:attrName>
                                          <p:attrName>ppt_y</p:attrName>
                                        </p:attrNameLst>
                                      </p:cBhvr>
                                      <p:rCtr x="-17225" y="-13350"/>
                                    </p:animMotion>
                                  </p:childTnLst>
                                </p:cTn>
                              </p:par>
                              <p:par>
                                <p:cTn id="60" presetID="0" presetClass="path" presetSubtype="0" accel="50000" decel="50000" fill="hold" grpId="0" nodeType="withEffect">
                                  <p:stCondLst>
                                    <p:cond delay="300"/>
                                  </p:stCondLst>
                                  <p:childTnLst>
                                    <p:animMotion origin="layout" path="M -3.58757E-6 2.66081E-6 C -0.01265 -0.0081 -0.04951 -0.01481 -0.07579 -0.04813 C -0.10206 -0.08145 -0.12754 -0.16335 -0.15718 -0.19922 C -0.18683 -0.23508 -0.22304 -0.25521 -0.25364 -0.26331 C -0.28425 -0.2714 -0.3227 -0.25058 -0.34097 -0.24734 " pathEditMode="relative" rAng="0" ptsTypes="aaaaa">
                                      <p:cBhvr>
                                        <p:cTn id="61" dur="4700" fill="hold"/>
                                        <p:tgtEl>
                                          <p:spTgt spid="52"/>
                                        </p:tgtEl>
                                        <p:attrNameLst>
                                          <p:attrName>ppt_x</p:attrName>
                                          <p:attrName>ppt_y</p:attrName>
                                        </p:attrNameLst>
                                      </p:cBhvr>
                                      <p:rCtr x="-17049" y="-13582"/>
                                    </p:animMotion>
                                  </p:childTnLst>
                                </p:cTn>
                              </p:par>
                              <p:par>
                                <p:cTn id="62" presetID="0" presetClass="path" presetSubtype="0" accel="50000" decel="50000" fill="hold" grpId="0" nodeType="withEffect">
                                  <p:stCondLst>
                                    <p:cond delay="600"/>
                                  </p:stCondLst>
                                  <p:childTnLst>
                                    <p:animMotion origin="layout" path="M 3.80067E-6 2.66081E-6 C -0.01475 -0.00787 -0.05961 -0.01389 -0.08861 -0.04697 C -0.11761 -0.08006 -0.14629 -0.16382 -0.17433 -0.19922 C -0.20238 -0.23462 -0.22897 -0.24966 -0.25637 -0.25891 C -0.28377 -0.26817 -0.32143 -0.25567 -0.33857 -0.25475 " pathEditMode="relative" rAng="0" ptsTypes="aaaaa">
                                      <p:cBhvr>
                                        <p:cTn id="63" dur="4400" fill="hold"/>
                                        <p:tgtEl>
                                          <p:spTgt spid="43"/>
                                        </p:tgtEl>
                                        <p:attrNameLst>
                                          <p:attrName>ppt_x</p:attrName>
                                          <p:attrName>ppt_y</p:attrName>
                                        </p:attrNameLst>
                                      </p:cBhvr>
                                      <p:rCtr x="-16936" y="-13420"/>
                                    </p:animMotion>
                                  </p:childTnLst>
                                </p:cTn>
                              </p:par>
                              <p:par>
                                <p:cTn id="64" presetID="0" presetClass="path" presetSubtype="0" accel="50000" decel="50000" fill="hold" grpId="0" nodeType="withEffect">
                                  <p:stCondLst>
                                    <p:cond delay="900"/>
                                  </p:stCondLst>
                                  <p:childTnLst>
                                    <p:animMotion origin="layout" path="M 9.5818E-7 2.66081E-6 C -0.01715 -0.00718 -0.07355 -0.0125 -0.10303 -0.04281 C -0.13251 -0.07312 -0.15142 -0.14646 -0.17706 -0.1814 C -0.20269 -0.21634 -0.23041 -0.23948 -0.25637 -0.25266 C -0.28233 -0.26585 -0.31678 -0.25845 -0.33264 -0.26007 " pathEditMode="relative" rAng="0" ptsTypes="aaaaa">
                                      <p:cBhvr>
                                        <p:cTn id="65" dur="4100" fill="hold"/>
                                        <p:tgtEl>
                                          <p:spTgt spid="44"/>
                                        </p:tgtEl>
                                        <p:attrNameLst>
                                          <p:attrName>ppt_x</p:attrName>
                                          <p:attrName>ppt_y</p:attrName>
                                        </p:attrNameLst>
                                      </p:cBhvr>
                                      <p:rCtr x="-16632" y="-13304"/>
                                    </p:animMotion>
                                  </p:childTnLst>
                                </p:cTn>
                              </p:par>
                              <p:par>
                                <p:cTn id="66" presetID="0" presetClass="path" presetSubtype="0" accel="50000" decel="50000" fill="hold" grpId="0" nodeType="withEffect">
                                  <p:stCondLst>
                                    <p:cond delay="1200"/>
                                  </p:stCondLst>
                                  <p:childTnLst>
                                    <p:animMotion origin="layout" path="M -1.88431E-6 2.66081E-6 C -0.01842 -0.00648 -0.07771 -0.00718 -0.11088 -0.03864 C -0.14405 -0.07011 -0.17417 -0.1541 -0.19868 -0.18857 C -0.2232 -0.22305 -0.23698 -0.23277 -0.25829 -0.24526 C -0.2796 -0.25775 -0.31245 -0.25937 -0.32671 -0.26308 " pathEditMode="relative" rAng="0" ptsTypes="aaaaa">
                                      <p:cBhvr>
                                        <p:cTn id="67" dur="3800" fill="hold"/>
                                        <p:tgtEl>
                                          <p:spTgt spid="45"/>
                                        </p:tgtEl>
                                        <p:attrNameLst>
                                          <p:attrName>ppt_x</p:attrName>
                                          <p:attrName>ppt_y</p:attrName>
                                        </p:attrNameLst>
                                      </p:cBhvr>
                                      <p:rCtr x="-16344" y="-13165"/>
                                    </p:animMotion>
                                  </p:childTnLst>
                                </p:cTn>
                              </p:par>
                              <p:par>
                                <p:cTn id="68" presetID="0" presetClass="path" presetSubtype="0" accel="50000" decel="50000" fill="hold" grpId="0" nodeType="withEffect">
                                  <p:stCondLst>
                                    <p:cond delay="1500"/>
                                  </p:stCondLst>
                                  <p:childTnLst>
                                    <p:animMotion origin="layout" path="M -4.72681E-6 2.66081E-6 C -0.02115 -0.00648 -0.09469 -0.01365 -0.12738 -0.03957 C -0.16007 -0.06548 -0.17385 -0.12147 -0.19644 -0.15502 C -0.21903 -0.18857 -0.24274 -0.22351 -0.26325 -0.24109 C -0.28376 -0.25868 -0.30764 -0.25613 -0.31934 -0.26007 " pathEditMode="relative" rAng="0" ptsTypes="aaaaa">
                                      <p:cBhvr>
                                        <p:cTn id="69" dur="3500" fill="hold"/>
                                        <p:tgtEl>
                                          <p:spTgt spid="46"/>
                                        </p:tgtEl>
                                        <p:attrNameLst>
                                          <p:attrName>ppt_x</p:attrName>
                                          <p:attrName>ppt_y</p:attrName>
                                        </p:attrNameLst>
                                      </p:cBhvr>
                                      <p:rCtr x="-15975" y="-13003"/>
                                    </p:animMotion>
                                  </p:childTnLst>
                                </p:cTn>
                              </p:par>
                              <p:par>
                                <p:cTn id="70" presetID="0" presetClass="path" presetSubtype="0" accel="50000" decel="50000" fill="hold" grpId="0" nodeType="withEffect">
                                  <p:stCondLst>
                                    <p:cond delay="1800"/>
                                  </p:stCondLst>
                                  <p:childTnLst>
                                    <p:animMotion origin="layout" path="M -1.80099E-6 2.66081E-6 C -0.02195 -0.00532 -0.09822 -0.00833 -0.13203 -0.0324 C -0.16584 -0.05646 -0.18202 -0.11291 -0.20253 -0.14461 C -0.22304 -0.17631 -0.23746 -0.205 -0.25557 -0.22328 C -0.27367 -0.24156 -0.29931 -0.24757 -0.31085 -0.25382 " pathEditMode="relative" rAng="0" ptsTypes="aaaaa">
                                      <p:cBhvr>
                                        <p:cTn id="71" dur="3200" fill="hold"/>
                                        <p:tgtEl>
                                          <p:spTgt spid="47"/>
                                        </p:tgtEl>
                                        <p:attrNameLst>
                                          <p:attrName>ppt_x</p:attrName>
                                          <p:attrName>ppt_y</p:attrName>
                                        </p:attrNameLst>
                                      </p:cBhvr>
                                      <p:rCtr x="-15542" y="-12702"/>
                                    </p:animMotion>
                                  </p:childTnLst>
                                </p:cTn>
                              </p:par>
                              <p:par>
                                <p:cTn id="72" presetID="0" presetClass="path" presetSubtype="0" accel="50000" decel="50000" fill="hold" grpId="0" nodeType="withEffect">
                                  <p:stCondLst>
                                    <p:cond delay="2100"/>
                                  </p:stCondLst>
                                  <p:childTnLst>
                                    <p:animMotion origin="layout" path="M -2.33616E-6 2.66081E-6 C -0.02483 -0.00509 -0.11184 -0.00417 -0.14917 -0.03008 C -0.18651 -0.056 -0.20445 -0.12356 -0.224 -0.15502 C -0.24355 -0.18649 -0.25332 -0.20384 -0.26694 -0.21911 C -0.28056 -0.23438 -0.29739 -0.24063 -0.3054 -0.24642 " pathEditMode="relative" rAng="0" ptsTypes="aaaaa">
                                      <p:cBhvr>
                                        <p:cTn id="73" dur="2900" fill="hold"/>
                                        <p:tgtEl>
                                          <p:spTgt spid="48"/>
                                        </p:tgtEl>
                                        <p:attrNameLst>
                                          <p:attrName>ppt_x</p:attrName>
                                          <p:attrName>ppt_y</p:attrName>
                                        </p:attrNameLst>
                                      </p:cBhvr>
                                      <p:rCtr x="-15270" y="-12332"/>
                                    </p:animMotion>
                                  </p:childTnLst>
                                </p:cTn>
                              </p:par>
                              <p:par>
                                <p:cTn id="74" presetID="0" presetClass="path" presetSubtype="0" accel="50000" decel="50000" fill="hold" grpId="0" nodeType="withEffect">
                                  <p:stCondLst>
                                    <p:cond delay="2300"/>
                                  </p:stCondLst>
                                  <p:childTnLst>
                                    <p:animMotion origin="layout" path="M 3.66768E-6 2.66081E-6 C -0.01779 -0.00209 -0.07611 -0.00301 -0.10704 -0.01227 C -0.13796 -0.02152 -0.15879 -0.02383 -0.18539 -0.0553 C -0.21199 -0.08677 -0.24676 -0.17122 -0.26679 -0.2013 C -0.28682 -0.23138 -0.29787 -0.2286 -0.30604 -0.23577 " pathEditMode="relative" rAng="0" ptsTypes="aaaaa">
                                      <p:cBhvr>
                                        <p:cTn id="75" dur="2700" fill="hold"/>
                                        <p:tgtEl>
                                          <p:spTgt spid="49"/>
                                        </p:tgtEl>
                                        <p:attrNameLst>
                                          <p:attrName>ppt_x</p:attrName>
                                          <p:attrName>ppt_y</p:attrName>
                                        </p:attrNameLst>
                                      </p:cBhvr>
                                      <p:rCtr x="-15302" y="-11800"/>
                                    </p:animMotion>
                                  </p:childTnLst>
                                </p:cTn>
                              </p:par>
                              <p:par>
                                <p:cTn id="76" presetID="0" presetClass="path" presetSubtype="0" accel="50000" decel="50000" fill="hold" grpId="0" nodeType="withEffect">
                                  <p:stCondLst>
                                    <p:cond delay="2500"/>
                                  </p:stCondLst>
                                  <p:childTnLst>
                                    <p:animMotion origin="layout" path="M 2.20958E-6 2.66081E-6 C -0.0657 -0.0007 -0.13572 -0.01296 -0.17513 -0.03355 C -0.21455 -0.05414 -0.21519 -0.09163 -0.23666 -0.12356 C -0.25813 -0.15549 -0.2897 -0.20338 -0.30364 -0.22444 " pathEditMode="relative" rAng="0" ptsTypes="aaaa">
                                      <p:cBhvr>
                                        <p:cTn id="77" dur="2500" fill="hold"/>
                                        <p:tgtEl>
                                          <p:spTgt spid="50"/>
                                        </p:tgtEl>
                                        <p:attrNameLst>
                                          <p:attrName>ppt_x</p:attrName>
                                          <p:attrName>ppt_y</p:attrName>
                                        </p:attrNameLst>
                                      </p:cBhvr>
                                      <p:rCtr x="-15190" y="-11222"/>
                                    </p:animMotion>
                                  </p:childTnLst>
                                </p:cTn>
                              </p:par>
                            </p:childTnLst>
                          </p:cTn>
                        </p:par>
                      </p:childTnLst>
                    </p:cTn>
                  </p:par>
                  <p:par>
                    <p:cTn id="78" fill="hold">
                      <p:stCondLst>
                        <p:cond delay="indefinite"/>
                      </p:stCondLst>
                      <p:childTnLst>
                        <p:par>
                          <p:cTn id="79" fill="hold">
                            <p:stCondLst>
                              <p:cond delay="0"/>
                            </p:stCondLst>
                            <p:childTnLst>
                              <p:par>
                                <p:cTn id="80" presetID="0" presetClass="path" presetSubtype="0" accel="50000" decel="50000" fill="hold" grpId="1" nodeType="clickEffect">
                                  <p:stCondLst>
                                    <p:cond delay="0"/>
                                  </p:stCondLst>
                                  <p:childTnLst>
                                    <p:animMotion origin="layout" path="M -0.34455 -0.23819 C -0.36843 -0.22245 -0.39183 -0.20602 -0.41859 -0.17199 C -0.44535 -0.13819 -0.46378 -0.0625 -0.50593 -0.03403 C -0.54792 -0.00579 -0.60946 -0.00417 -0.67051 -0.00231 " pathEditMode="relative" rAng="0" ptsTypes="aaaA">
                                      <p:cBhvr>
                                        <p:cTn id="81" dur="5000" fill="hold"/>
                                        <p:tgtEl>
                                          <p:spTgt spid="51"/>
                                        </p:tgtEl>
                                        <p:attrNameLst>
                                          <p:attrName>ppt_x</p:attrName>
                                          <p:attrName>ppt_y</p:attrName>
                                        </p:attrNameLst>
                                      </p:cBhvr>
                                      <p:rCtr x="-16298" y="11782"/>
                                    </p:animMotion>
                                  </p:childTnLst>
                                </p:cTn>
                              </p:par>
                              <p:par>
                                <p:cTn id="82" presetID="0" presetClass="path" presetSubtype="0" accel="50000" decel="50000" fill="hold" grpId="1" nodeType="withEffect">
                                  <p:stCondLst>
                                    <p:cond delay="200"/>
                                  </p:stCondLst>
                                  <p:childTnLst>
                                    <p:animMotion origin="layout" path="M -0.34097 -0.24734 C -0.35587 -0.23693 -0.40153 -0.21958 -0.43038 -0.18556 C -0.45922 -0.15155 -0.4895 -0.07265 -0.51466 -0.04373 C -0.53981 -0.01481 -0.55472 -0.01921 -0.58083 -0.01227 C -0.60695 -0.00532 -0.65278 -0.0044 -0.67168 -0.00232 " pathEditMode="relative" rAng="0" ptsTypes="aaaaa">
                                      <p:cBhvr>
                                        <p:cTn id="83" dur="4800" fill="hold"/>
                                        <p:tgtEl>
                                          <p:spTgt spid="52"/>
                                        </p:tgtEl>
                                        <p:attrNameLst>
                                          <p:attrName>ppt_x</p:attrName>
                                          <p:attrName>ppt_y</p:attrName>
                                        </p:attrNameLst>
                                      </p:cBhvr>
                                      <p:rCtr x="-16536" y="12240"/>
                                    </p:animMotion>
                                  </p:childTnLst>
                                </p:cTn>
                              </p:par>
                              <p:par>
                                <p:cTn id="84" presetID="0" presetClass="path" presetSubtype="0" accel="50000" decel="50000" fill="hold" grpId="1" nodeType="withEffect">
                                  <p:stCondLst>
                                    <p:cond delay="400"/>
                                  </p:stCondLst>
                                  <p:childTnLst>
                                    <p:animMotion origin="layout" path="M -0.33857 -0.25475 C -0.35459 -0.2448 -0.40042 -0.2323 -0.43455 -0.19505 C -0.46868 -0.1578 -0.50393 -0.0634 -0.54351 -0.03124 C -0.58308 0.00092 -0.64493 -0.00787 -0.67169 -0.00185 " pathEditMode="relative" rAng="0" ptsTypes="aaaa">
                                      <p:cBhvr>
                                        <p:cTn id="85" dur="4600" fill="hold"/>
                                        <p:tgtEl>
                                          <p:spTgt spid="43"/>
                                        </p:tgtEl>
                                        <p:attrNameLst>
                                          <p:attrName>ppt_x</p:attrName>
                                          <p:attrName>ppt_y</p:attrName>
                                        </p:attrNameLst>
                                      </p:cBhvr>
                                      <p:rCtr x="-16664" y="12772"/>
                                    </p:animMotion>
                                  </p:childTnLst>
                                </p:cTn>
                              </p:par>
                              <p:par>
                                <p:cTn id="86" presetID="0" presetClass="path" presetSubtype="0" accel="50000" decel="50000" fill="hold" grpId="1" nodeType="withEffect">
                                  <p:stCondLst>
                                    <p:cond delay="600"/>
                                  </p:stCondLst>
                                  <p:childTnLst>
                                    <p:animMotion origin="layout" path="M -0.33264 -0.26007 C -0.35171 -0.25012 -0.40891 -0.23855 -0.44737 -0.20014 C -0.48582 -0.16173 -0.52652 -0.06294 -0.56369 -0.03008 C -0.60087 0.00277 -0.64861 -0.00879 -0.67089 -0.00324 " pathEditMode="relative" rAng="0" ptsTypes="aaaa">
                                      <p:cBhvr>
                                        <p:cTn id="87" dur="4400" fill="hold"/>
                                        <p:tgtEl>
                                          <p:spTgt spid="44"/>
                                        </p:tgtEl>
                                        <p:attrNameLst>
                                          <p:attrName>ppt_x</p:attrName>
                                          <p:attrName>ppt_y</p:attrName>
                                        </p:attrNameLst>
                                      </p:cBhvr>
                                      <p:rCtr x="-16920" y="13142"/>
                                    </p:animMotion>
                                  </p:childTnLst>
                                </p:cTn>
                              </p:par>
                              <p:par>
                                <p:cTn id="88" presetID="0" presetClass="path" presetSubtype="0" accel="50000" decel="50000" fill="hold" grpId="1" nodeType="withEffect">
                                  <p:stCondLst>
                                    <p:cond delay="800"/>
                                  </p:stCondLst>
                                  <p:childTnLst>
                                    <p:animMotion origin="layout" path="M -0.32671 -0.26308 C -0.34866 -0.25382 -0.41644 -0.24665 -0.45826 -0.20755 C -0.50008 -0.16844 -0.5427 -0.0634 -0.57811 -0.02916 C -0.61352 0.00509 -0.6515 -0.0081 -0.67088 -0.00255 " pathEditMode="relative" rAng="0" ptsTypes="aaaa">
                                      <p:cBhvr>
                                        <p:cTn id="89" dur="4200" fill="hold"/>
                                        <p:tgtEl>
                                          <p:spTgt spid="45"/>
                                        </p:tgtEl>
                                        <p:attrNameLst>
                                          <p:attrName>ppt_x</p:attrName>
                                          <p:attrName>ppt_y</p:attrName>
                                        </p:attrNameLst>
                                      </p:cBhvr>
                                      <p:rCtr x="-17209" y="13397"/>
                                    </p:animMotion>
                                  </p:childTnLst>
                                </p:cTn>
                              </p:par>
                              <p:par>
                                <p:cTn id="90" presetID="0" presetClass="path" presetSubtype="0" accel="50000" decel="50000" fill="hold" grpId="1" nodeType="withEffect">
                                  <p:stCondLst>
                                    <p:cond delay="1000"/>
                                  </p:stCondLst>
                                  <p:childTnLst>
                                    <p:animMotion origin="layout" path="M -0.31934 -0.26007 C -0.34385 -0.25266 -0.42188 -0.25289 -0.46611 -0.21587 C -0.51033 -0.17886 -0.55071 -0.07312 -0.58452 -0.03749 C -0.61833 -0.00185 -0.65149 -0.00995 -0.66912 -0.00278 " pathEditMode="relative" rAng="0" ptsTypes="aaaa">
                                      <p:cBhvr>
                                        <p:cTn id="91" dur="4000" fill="hold"/>
                                        <p:tgtEl>
                                          <p:spTgt spid="46"/>
                                        </p:tgtEl>
                                        <p:attrNameLst>
                                          <p:attrName>ppt_x</p:attrName>
                                          <p:attrName>ppt_y</p:attrName>
                                        </p:attrNameLst>
                                      </p:cBhvr>
                                      <p:rCtr x="-17497" y="12911"/>
                                    </p:animMotion>
                                  </p:childTnLst>
                                </p:cTn>
                              </p:par>
                              <p:par>
                                <p:cTn id="92" presetID="0" presetClass="path" presetSubtype="0" accel="50000" decel="50000" fill="hold" grpId="1" nodeType="withEffect">
                                  <p:stCondLst>
                                    <p:cond delay="1200"/>
                                  </p:stCondLst>
                                  <p:childTnLst>
                                    <p:animMotion origin="layout" path="M -0.31085 -0.25382 C -0.3195 -0.25498 -0.33456 -0.26817 -0.36308 -0.26099 C -0.3916 -0.25382 -0.4424 -0.24873 -0.48229 -0.21078 C -0.52219 -0.17284 -0.57202 -0.06803 -0.60295 -0.03332 C -0.63387 0.00139 -0.65454 -0.00903 -0.66816 -0.00278 " pathEditMode="relative" rAng="0" ptsTypes="aaaaa">
                                      <p:cBhvr>
                                        <p:cTn id="93" dur="3800" fill="hold"/>
                                        <p:tgtEl>
                                          <p:spTgt spid="47"/>
                                        </p:tgtEl>
                                        <p:attrNameLst>
                                          <p:attrName>ppt_x</p:attrName>
                                          <p:attrName>ppt_y</p:attrName>
                                        </p:attrNameLst>
                                      </p:cBhvr>
                                      <p:rCtr x="-17866" y="12031"/>
                                    </p:animMotion>
                                  </p:childTnLst>
                                </p:cTn>
                              </p:par>
                              <p:par>
                                <p:cTn id="94" presetID="0" presetClass="path" presetSubtype="0" accel="50000" decel="50000" fill="hold" grpId="1" nodeType="withEffect">
                                  <p:stCondLst>
                                    <p:cond delay="1400"/>
                                  </p:stCondLst>
                                  <p:childTnLst>
                                    <p:animMotion origin="layout" path="M -0.3054 -0.24665 C -0.32062 -0.2485 -0.3626 -0.26724 -0.39705 -0.25799 C -0.4315 -0.24873 -0.477 -0.22791 -0.51258 -0.19066 C -0.54815 -0.1534 -0.58516 -0.06571 -0.61064 -0.03448 C -0.63611 -0.00324 -0.65438 -0.00972 -0.66592 -0.00324 " pathEditMode="relative" rAng="0" ptsTypes="aaaaa">
                                      <p:cBhvr>
                                        <p:cTn id="95" dur="3600" fill="hold"/>
                                        <p:tgtEl>
                                          <p:spTgt spid="48"/>
                                        </p:tgtEl>
                                        <p:attrNameLst>
                                          <p:attrName>ppt_x</p:attrName>
                                          <p:attrName>ppt_y</p:attrName>
                                        </p:attrNameLst>
                                      </p:cBhvr>
                                      <p:rCtr x="-18026" y="11129"/>
                                    </p:animMotion>
                                  </p:childTnLst>
                                </p:cTn>
                              </p:par>
                              <p:par>
                                <p:cTn id="96" presetID="0" presetClass="path" presetSubtype="0" accel="50000" decel="50000" fill="hold" grpId="1" nodeType="withEffect">
                                  <p:stCondLst>
                                    <p:cond delay="1600"/>
                                  </p:stCondLst>
                                  <p:childTnLst>
                                    <p:animMotion origin="layout" path="M -0.30604 -0.23577 C -0.32063 -0.23971 -0.35764 -0.26678 -0.39401 -0.26007 C -0.43038 -0.25336 -0.48614 -0.23253 -0.52412 -0.19598 C -0.56209 -0.15942 -0.59782 -0.07289 -0.62154 -0.04072 C -0.64525 -0.00856 -0.65711 -0.01065 -0.66656 -0.00278 " pathEditMode="relative" rAng="0" ptsTypes="aaaaa">
                                      <p:cBhvr>
                                        <p:cTn id="97" dur="3400" fill="hold"/>
                                        <p:tgtEl>
                                          <p:spTgt spid="49"/>
                                        </p:tgtEl>
                                        <p:attrNameLst>
                                          <p:attrName>ppt_x</p:attrName>
                                          <p:attrName>ppt_y</p:attrName>
                                        </p:attrNameLst>
                                      </p:cBhvr>
                                      <p:rCtr x="-18026" y="10088"/>
                                    </p:animMotion>
                                  </p:childTnLst>
                                </p:cTn>
                              </p:par>
                              <p:par>
                                <p:cTn id="98" presetID="0" presetClass="path" presetSubtype="0" accel="50000" decel="50000" fill="hold" grpId="1" nodeType="withEffect">
                                  <p:stCondLst>
                                    <p:cond delay="1800"/>
                                  </p:stCondLst>
                                  <p:childTnLst>
                                    <p:animMotion origin="layout" path="M -0.30364 -0.22444 C -0.32062 -0.23022 -0.36821 -0.26192 -0.40603 -0.25868 C -0.44384 -0.25544 -0.49303 -0.24109 -0.53037 -0.20546 C -0.5677 -0.16983 -0.60728 -0.07867 -0.62987 -0.04489 C -0.65246 -0.01111 -0.65855 -0.0118 -0.66608 -0.00301 " pathEditMode="relative" rAng="0" ptsTypes="aaaaa">
                                      <p:cBhvr>
                                        <p:cTn id="99" dur="3200" fill="hold"/>
                                        <p:tgtEl>
                                          <p:spTgt spid="50"/>
                                        </p:tgtEl>
                                        <p:attrNameLst>
                                          <p:attrName>ppt_x</p:attrName>
                                          <p:attrName>ppt_y</p:attrName>
                                        </p:attrNameLst>
                                      </p:cBhvr>
                                      <p:rCtr x="-18122" y="9186"/>
                                    </p:animMotion>
                                  </p:childTnLst>
                                </p:cTn>
                              </p:par>
                              <p:par>
                                <p:cTn id="100" presetID="10" presetClass="entr" presetSubtype="0" fill="hold" nodeType="withEffect">
                                  <p:stCondLst>
                                    <p:cond delay="3400"/>
                                  </p:stCondLst>
                                  <p:childTnLst>
                                    <p:set>
                                      <p:cBhvr>
                                        <p:cTn id="101" dur="1" fill="hold">
                                          <p:stCondLst>
                                            <p:cond delay="0"/>
                                          </p:stCondLst>
                                        </p:cTn>
                                        <p:tgtEl>
                                          <p:spTgt spid="65"/>
                                        </p:tgtEl>
                                        <p:attrNameLst>
                                          <p:attrName>style.visibility</p:attrName>
                                        </p:attrNameLst>
                                      </p:cBhvr>
                                      <p:to>
                                        <p:strVal val="visible"/>
                                      </p:to>
                                    </p:set>
                                    <p:animEffect transition="in" filter="fade">
                                      <p:cBhvr>
                                        <p:cTn id="102" dur="1100"/>
                                        <p:tgtEl>
                                          <p:spTgt spid="65"/>
                                        </p:tgtEl>
                                      </p:cBhvr>
                                    </p:animEffect>
                                  </p:childTnLst>
                                </p:cTn>
                              </p:par>
                              <p:par>
                                <p:cTn id="103" presetID="10" presetClass="exit" presetSubtype="0" fill="hold" nodeType="withEffect">
                                  <p:stCondLst>
                                    <p:cond delay="3700"/>
                                  </p:stCondLst>
                                  <p:childTnLst>
                                    <p:animEffect transition="out" filter="fade">
                                      <p:cBhvr>
                                        <p:cTn id="104" dur="500"/>
                                        <p:tgtEl>
                                          <p:spTgt spid="53"/>
                                        </p:tgtEl>
                                      </p:cBhvr>
                                    </p:animEffect>
                                    <p:set>
                                      <p:cBhvr>
                                        <p:cTn id="105" dur="1" fill="hold">
                                          <p:stCondLst>
                                            <p:cond delay="499"/>
                                          </p:stCondLst>
                                        </p:cTn>
                                        <p:tgtEl>
                                          <p:spTgt spid="5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4" grpId="0"/>
      <p:bldP spid="66" grpId="0" animBg="1"/>
      <p:bldP spid="67" grpId="0"/>
      <p:bldP spid="72" grpId="0" animBg="1"/>
      <p:bldP spid="73" grpId="0"/>
      <p:bldP spid="69" grpId="0" animBg="1"/>
      <p:bldP spid="70" grpId="0"/>
      <p:bldP spid="60" grpId="0" animBg="1"/>
      <p:bldP spid="61" grpId="0"/>
      <p:bldP spid="52" grpId="0"/>
      <p:bldP spid="52" grpId="1"/>
      <p:bldP spid="43" grpId="0"/>
      <p:bldP spid="43" grpId="1"/>
      <p:bldP spid="44" grpId="0"/>
      <p:bldP spid="44" grpId="1"/>
      <p:bldP spid="45" grpId="0"/>
      <p:bldP spid="45" grpId="1"/>
      <p:bldP spid="46" grpId="0"/>
      <p:bldP spid="46" grpId="1"/>
      <p:bldP spid="47" grpId="0"/>
      <p:bldP spid="47" grpId="1"/>
      <p:bldP spid="48" grpId="0"/>
      <p:bldP spid="48" grpId="1"/>
      <p:bldP spid="49" grpId="0"/>
      <p:bldP spid="49" grpId="1"/>
      <p:bldP spid="50" grpId="0"/>
      <p:bldP spid="50" grpId="1"/>
      <p:bldP spid="51" grpId="0"/>
      <p:bldP spid="51" grpId="1"/>
      <p:bldP spid="97" grpId="0" animBg="1"/>
      <p:bldP spid="9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17"/>
          <p:cNvSpPr>
            <a:spLocks noGrp="1"/>
          </p:cNvSpPr>
          <p:nvPr>
            <p:ph type="body" sz="quarter" idx="13"/>
          </p:nvPr>
        </p:nvSpPr>
        <p:spPr>
          <a:xfrm>
            <a:off x="275045" y="426278"/>
            <a:ext cx="7597917" cy="697671"/>
          </a:xfrm>
        </p:spPr>
        <p:txBody>
          <a:bodyPr/>
          <a:lstStyle/>
          <a:p>
            <a:pPr>
              <a:spcBef>
                <a:spcPts val="0"/>
              </a:spcBef>
              <a:buClrTx/>
              <a:defRPr/>
            </a:pPr>
            <a:r>
              <a:rPr lang="de-DE" dirty="0" smtClean="0"/>
              <a:t>Wie wäre es mit einer Umkehr der Bewegungsenergie?</a:t>
            </a:r>
            <a:endParaRPr lang="de-DE" dirty="0"/>
          </a:p>
        </p:txBody>
      </p:sp>
      <p:sp>
        <p:nvSpPr>
          <p:cNvPr id="4" name="Ellipse 3"/>
          <p:cNvSpPr/>
          <p:nvPr/>
        </p:nvSpPr>
        <p:spPr>
          <a:xfrm>
            <a:off x="3276600" y="3778874"/>
            <a:ext cx="3295650" cy="1676400"/>
          </a:xfrm>
          <a:custGeom>
            <a:avLst/>
            <a:gdLst>
              <a:gd name="connsiteX0" fmla="*/ 0 w 3295650"/>
              <a:gd name="connsiteY0" fmla="*/ 1676400 h 3352800"/>
              <a:gd name="connsiteX1" fmla="*/ 1647825 w 3295650"/>
              <a:gd name="connsiteY1" fmla="*/ 0 h 3352800"/>
              <a:gd name="connsiteX2" fmla="*/ 3295650 w 3295650"/>
              <a:gd name="connsiteY2" fmla="*/ 1676400 h 3352800"/>
              <a:gd name="connsiteX3" fmla="*/ 1647825 w 3295650"/>
              <a:gd name="connsiteY3" fmla="*/ 3352800 h 3352800"/>
              <a:gd name="connsiteX4" fmla="*/ 0 w 3295650"/>
              <a:gd name="connsiteY4" fmla="*/ 1676400 h 3352800"/>
              <a:gd name="connsiteX0" fmla="*/ 0 w 3295650"/>
              <a:gd name="connsiteY0" fmla="*/ 1676400 h 1676400"/>
              <a:gd name="connsiteX1" fmla="*/ 1647825 w 3295650"/>
              <a:gd name="connsiteY1" fmla="*/ 0 h 1676400"/>
              <a:gd name="connsiteX2" fmla="*/ 3295650 w 3295650"/>
              <a:gd name="connsiteY2" fmla="*/ 1676400 h 1676400"/>
              <a:gd name="connsiteX3" fmla="*/ 0 w 3295650"/>
              <a:gd name="connsiteY3" fmla="*/ 1676400 h 1676400"/>
              <a:gd name="connsiteX0" fmla="*/ 0 w 3295650"/>
              <a:gd name="connsiteY0" fmla="*/ 1676400 h 1799178"/>
              <a:gd name="connsiteX1" fmla="*/ 1647825 w 3295650"/>
              <a:gd name="connsiteY1" fmla="*/ 0 h 1799178"/>
              <a:gd name="connsiteX2" fmla="*/ 3295650 w 3295650"/>
              <a:gd name="connsiteY2" fmla="*/ 1676400 h 1799178"/>
              <a:gd name="connsiteX3" fmla="*/ 0 w 3295650"/>
              <a:gd name="connsiteY3" fmla="*/ 1676400 h 1799178"/>
              <a:gd name="connsiteX0" fmla="*/ 0 w 3295650"/>
              <a:gd name="connsiteY0" fmla="*/ 1676400 h 1799178"/>
              <a:gd name="connsiteX1" fmla="*/ 1647825 w 3295650"/>
              <a:gd name="connsiteY1" fmla="*/ 0 h 1799178"/>
              <a:gd name="connsiteX2" fmla="*/ 3295650 w 3295650"/>
              <a:gd name="connsiteY2" fmla="*/ 1676400 h 1799178"/>
              <a:gd name="connsiteX3" fmla="*/ 0 w 3295650"/>
              <a:gd name="connsiteY3" fmla="*/ 1676400 h 1799178"/>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6400"/>
              <a:gd name="connsiteX1" fmla="*/ 1647825 w 3295650"/>
              <a:gd name="connsiteY1" fmla="*/ 0 h 1676400"/>
              <a:gd name="connsiteX2" fmla="*/ 3295650 w 3295650"/>
              <a:gd name="connsiteY2" fmla="*/ 1676400 h 1676400"/>
              <a:gd name="connsiteX3" fmla="*/ 0 w 3295650"/>
              <a:gd name="connsiteY3" fmla="*/ 1676400 h 1676400"/>
            </a:gdLst>
            <a:ahLst/>
            <a:cxnLst>
              <a:cxn ang="0">
                <a:pos x="connsiteX0" y="connsiteY0"/>
              </a:cxn>
              <a:cxn ang="0">
                <a:pos x="connsiteX1" y="connsiteY1"/>
              </a:cxn>
              <a:cxn ang="0">
                <a:pos x="connsiteX2" y="connsiteY2"/>
              </a:cxn>
              <a:cxn ang="0">
                <a:pos x="connsiteX3" y="connsiteY3"/>
              </a:cxn>
            </a:cxnLst>
            <a:rect l="l" t="t" r="r" b="b"/>
            <a:pathLst>
              <a:path w="3295650" h="1676400">
                <a:moveTo>
                  <a:pt x="0" y="1676400"/>
                </a:moveTo>
                <a:cubicBezTo>
                  <a:pt x="0" y="750550"/>
                  <a:pt x="737756" y="0"/>
                  <a:pt x="1647825" y="0"/>
                </a:cubicBezTo>
                <a:cubicBezTo>
                  <a:pt x="2557894" y="0"/>
                  <a:pt x="3295650" y="750550"/>
                  <a:pt x="3295650" y="1676400"/>
                </a:cubicBezTo>
                <a:lnTo>
                  <a:pt x="0" y="1676400"/>
                </a:lnTo>
                <a:close/>
              </a:path>
            </a:pathLst>
          </a:cu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pic>
        <p:nvPicPr>
          <p:cNvPr id="54" name="Grafik 53"/>
          <p:cNvPicPr>
            <a:picLocks noChangeAspect="1"/>
          </p:cNvPicPr>
          <p:nvPr/>
        </p:nvPicPr>
        <p:blipFill>
          <a:blip r:embed="rId13">
            <a:grayscl/>
            <a:extLst>
              <a:ext uri="{28A0092B-C50C-407E-A947-70E740481C1C}">
                <a14:useLocalDpi xmlns:a14="http://schemas.microsoft.com/office/drawing/2010/main" val="0"/>
              </a:ext>
            </a:extLst>
          </a:blip>
          <a:stretch>
            <a:fillRect/>
          </a:stretch>
        </p:blipFill>
        <p:spPr>
          <a:xfrm>
            <a:off x="7900258" y="4177096"/>
            <a:ext cx="556741" cy="865555"/>
          </a:xfrm>
          <a:prstGeom prst="rect">
            <a:avLst/>
          </a:prstGeom>
        </p:spPr>
      </p:pic>
      <p:cxnSp>
        <p:nvCxnSpPr>
          <p:cNvPr id="56" name="Gerade Verbindung 55"/>
          <p:cNvCxnSpPr/>
          <p:nvPr/>
        </p:nvCxnSpPr>
        <p:spPr>
          <a:xfrm flipV="1">
            <a:off x="4023015" y="3059928"/>
            <a:ext cx="0" cy="149767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63" name="Rechteck 62"/>
          <p:cNvSpPr/>
          <p:nvPr/>
        </p:nvSpPr>
        <p:spPr>
          <a:xfrm>
            <a:off x="3745955" y="2250962"/>
            <a:ext cx="530492" cy="79573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cxnSp>
        <p:nvCxnSpPr>
          <p:cNvPr id="17" name="Gerade Verbindung 16"/>
          <p:cNvCxnSpPr/>
          <p:nvPr/>
        </p:nvCxnSpPr>
        <p:spPr>
          <a:xfrm flipV="1">
            <a:off x="4595516" y="2592001"/>
            <a:ext cx="7991" cy="1540799"/>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66" name="Rechteck 65"/>
          <p:cNvSpPr/>
          <p:nvPr/>
        </p:nvSpPr>
        <p:spPr>
          <a:xfrm>
            <a:off x="4317208" y="1912985"/>
            <a:ext cx="532873" cy="675953"/>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cxnSp>
        <p:nvCxnSpPr>
          <p:cNvPr id="55" name="Gerade Verbindung 54"/>
          <p:cNvCxnSpPr/>
          <p:nvPr/>
        </p:nvCxnSpPr>
        <p:spPr>
          <a:xfrm flipV="1">
            <a:off x="5298215" y="2923591"/>
            <a:ext cx="0" cy="1125597"/>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72" name="Rechteck 71"/>
          <p:cNvSpPr/>
          <p:nvPr/>
        </p:nvSpPr>
        <p:spPr>
          <a:xfrm>
            <a:off x="4977907" y="2070415"/>
            <a:ext cx="606402" cy="853176"/>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73" name="Inhaltsplatzhalter 12"/>
          <p:cNvSpPr txBox="1">
            <a:spLocks/>
          </p:cNvSpPr>
          <p:nvPr/>
        </p:nvSpPr>
        <p:spPr>
          <a:xfrm>
            <a:off x="4357622" y="2164862"/>
            <a:ext cx="579580" cy="184666"/>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solidFill>
                  <a:srgbClr val="606060"/>
                </a:solidFill>
              </a:rPr>
              <a:t>Nature</a:t>
            </a:r>
            <a:endParaRPr lang="de-DE" sz="1200" dirty="0">
              <a:solidFill>
                <a:srgbClr val="606060"/>
              </a:solidFill>
            </a:endParaRPr>
          </a:p>
        </p:txBody>
      </p:sp>
      <p:cxnSp>
        <p:nvCxnSpPr>
          <p:cNvPr id="58" name="Gerade Verbindung 57"/>
          <p:cNvCxnSpPr>
            <a:endCxn id="69" idx="2"/>
          </p:cNvCxnSpPr>
          <p:nvPr/>
        </p:nvCxnSpPr>
        <p:spPr>
          <a:xfrm flipH="1" flipV="1">
            <a:off x="5941009" y="3256578"/>
            <a:ext cx="1698" cy="151702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Rechteck 68"/>
          <p:cNvSpPr/>
          <p:nvPr/>
        </p:nvSpPr>
        <p:spPr>
          <a:xfrm>
            <a:off x="5564080" y="2199132"/>
            <a:ext cx="753858" cy="1057446"/>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70" name="Inhaltsplatzhalter 12"/>
          <p:cNvSpPr txBox="1">
            <a:spLocks/>
          </p:cNvSpPr>
          <p:nvPr/>
        </p:nvSpPr>
        <p:spPr>
          <a:xfrm>
            <a:off x="5608155" y="2607667"/>
            <a:ext cx="778796" cy="184666"/>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solidFill>
                  <a:srgbClr val="606060"/>
                </a:solidFill>
              </a:rPr>
              <a:t>SCIENCE</a:t>
            </a:r>
            <a:endParaRPr lang="de-DE" sz="1200" dirty="0">
              <a:solidFill>
                <a:srgbClr val="606060"/>
              </a:solidFill>
            </a:endParaRPr>
          </a:p>
        </p:txBody>
      </p:sp>
      <p:cxnSp>
        <p:nvCxnSpPr>
          <p:cNvPr id="57" name="Gerade Verbindung 56"/>
          <p:cNvCxnSpPr/>
          <p:nvPr/>
        </p:nvCxnSpPr>
        <p:spPr>
          <a:xfrm flipV="1">
            <a:off x="4985107" y="3457796"/>
            <a:ext cx="0" cy="81866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60" name="Rechteck 59"/>
          <p:cNvSpPr/>
          <p:nvPr/>
        </p:nvSpPr>
        <p:spPr>
          <a:xfrm>
            <a:off x="4737199" y="2700000"/>
            <a:ext cx="485508" cy="758176"/>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61" name="Inhaltsplatzhalter 12"/>
          <p:cNvSpPr txBox="1">
            <a:spLocks/>
          </p:cNvSpPr>
          <p:nvPr/>
        </p:nvSpPr>
        <p:spPr>
          <a:xfrm>
            <a:off x="3838386" y="2555794"/>
            <a:ext cx="438061" cy="184666"/>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smtClean="0">
                <a:solidFill>
                  <a:srgbClr val="606060"/>
                </a:solidFill>
              </a:rPr>
              <a:t>eLife</a:t>
            </a:r>
            <a:endParaRPr lang="de-DE" sz="1200" dirty="0">
              <a:solidFill>
                <a:srgbClr val="606060"/>
              </a:solidFill>
            </a:endParaRPr>
          </a:p>
        </p:txBody>
      </p:sp>
      <p:sp>
        <p:nvSpPr>
          <p:cNvPr id="52" name="Inhaltsplatzhalter 2"/>
          <p:cNvSpPr txBox="1">
            <a:spLocks/>
          </p:cNvSpPr>
          <p:nvPr>
            <p:custDataLst>
              <p:tags r:id="rId1"/>
            </p:custDataLst>
          </p:nvPr>
        </p:nvSpPr>
        <p:spPr>
          <a:xfrm>
            <a:off x="7639421"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e</a:t>
            </a:r>
            <a:endParaRPr lang="de-DE" sz="900" b="1" dirty="0">
              <a:solidFill>
                <a:srgbClr val="C0C0C0"/>
              </a:solidFill>
            </a:endParaRPr>
          </a:p>
        </p:txBody>
      </p:sp>
      <p:sp>
        <p:nvSpPr>
          <p:cNvPr id="43" name="Inhaltsplatzhalter 2"/>
          <p:cNvSpPr txBox="1">
            <a:spLocks/>
          </p:cNvSpPr>
          <p:nvPr>
            <p:custDataLst>
              <p:tags r:id="rId2"/>
            </p:custDataLst>
          </p:nvPr>
        </p:nvSpPr>
        <p:spPr>
          <a:xfrm>
            <a:off x="7796134"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s</a:t>
            </a:r>
            <a:endParaRPr lang="de-DE" sz="900" b="1" dirty="0">
              <a:solidFill>
                <a:srgbClr val="C0C0C0"/>
              </a:solidFill>
            </a:endParaRPr>
          </a:p>
        </p:txBody>
      </p:sp>
      <p:sp>
        <p:nvSpPr>
          <p:cNvPr id="44" name="Inhaltsplatzhalter 2"/>
          <p:cNvSpPr txBox="1">
            <a:spLocks/>
          </p:cNvSpPr>
          <p:nvPr>
            <p:custDataLst>
              <p:tags r:id="rId3"/>
            </p:custDataLst>
          </p:nvPr>
        </p:nvSpPr>
        <p:spPr>
          <a:xfrm>
            <a:off x="7952847"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e</a:t>
            </a:r>
            <a:endParaRPr lang="de-DE" sz="900" b="1" dirty="0">
              <a:solidFill>
                <a:srgbClr val="C0C0C0"/>
              </a:solidFill>
            </a:endParaRPr>
          </a:p>
        </p:txBody>
      </p:sp>
      <p:sp>
        <p:nvSpPr>
          <p:cNvPr id="45" name="Inhaltsplatzhalter 2"/>
          <p:cNvSpPr txBox="1">
            <a:spLocks/>
          </p:cNvSpPr>
          <p:nvPr>
            <p:custDataLst>
              <p:tags r:id="rId4"/>
            </p:custDataLst>
          </p:nvPr>
        </p:nvSpPr>
        <p:spPr>
          <a:xfrm>
            <a:off x="8109560"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a</a:t>
            </a:r>
            <a:endParaRPr lang="de-DE" sz="900" b="1" dirty="0">
              <a:solidFill>
                <a:srgbClr val="C0C0C0"/>
              </a:solidFill>
            </a:endParaRPr>
          </a:p>
        </p:txBody>
      </p:sp>
      <p:sp>
        <p:nvSpPr>
          <p:cNvPr id="46" name="Inhaltsplatzhalter 2"/>
          <p:cNvSpPr txBox="1">
            <a:spLocks/>
          </p:cNvSpPr>
          <p:nvPr>
            <p:custDataLst>
              <p:tags r:id="rId5"/>
            </p:custDataLst>
          </p:nvPr>
        </p:nvSpPr>
        <p:spPr>
          <a:xfrm>
            <a:off x="8266273"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r</a:t>
            </a:r>
            <a:endParaRPr lang="de-DE" sz="900" b="1" dirty="0">
              <a:solidFill>
                <a:srgbClr val="C0C0C0"/>
              </a:solidFill>
            </a:endParaRPr>
          </a:p>
        </p:txBody>
      </p:sp>
      <p:sp>
        <p:nvSpPr>
          <p:cNvPr id="47" name="Inhaltsplatzhalter 2"/>
          <p:cNvSpPr txBox="1">
            <a:spLocks/>
          </p:cNvSpPr>
          <p:nvPr>
            <p:custDataLst>
              <p:tags r:id="rId6"/>
            </p:custDataLst>
          </p:nvPr>
        </p:nvSpPr>
        <p:spPr>
          <a:xfrm>
            <a:off x="8384887"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c</a:t>
            </a:r>
            <a:endParaRPr lang="de-DE" sz="900" b="1" dirty="0">
              <a:solidFill>
                <a:srgbClr val="C0C0C0"/>
              </a:solidFill>
            </a:endParaRPr>
          </a:p>
        </p:txBody>
      </p:sp>
      <p:sp>
        <p:nvSpPr>
          <p:cNvPr id="48" name="Inhaltsplatzhalter 2"/>
          <p:cNvSpPr txBox="1">
            <a:spLocks/>
          </p:cNvSpPr>
          <p:nvPr>
            <p:custDataLst>
              <p:tags r:id="rId7"/>
            </p:custDataLst>
          </p:nvPr>
        </p:nvSpPr>
        <p:spPr>
          <a:xfrm>
            <a:off x="8524931"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h</a:t>
            </a:r>
            <a:endParaRPr lang="de-DE" sz="900" b="1" dirty="0">
              <a:solidFill>
                <a:srgbClr val="C0C0C0"/>
              </a:solidFill>
            </a:endParaRPr>
          </a:p>
        </p:txBody>
      </p:sp>
      <p:sp>
        <p:nvSpPr>
          <p:cNvPr id="49" name="Inhaltsplatzhalter 2"/>
          <p:cNvSpPr txBox="1">
            <a:spLocks/>
          </p:cNvSpPr>
          <p:nvPr>
            <p:custDataLst>
              <p:tags r:id="rId8"/>
            </p:custDataLst>
          </p:nvPr>
        </p:nvSpPr>
        <p:spPr>
          <a:xfrm>
            <a:off x="8691169"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e</a:t>
            </a:r>
            <a:endParaRPr lang="de-DE" sz="900" b="1" dirty="0">
              <a:solidFill>
                <a:srgbClr val="C0C0C0"/>
              </a:solidFill>
            </a:endParaRPr>
          </a:p>
        </p:txBody>
      </p:sp>
      <p:sp>
        <p:nvSpPr>
          <p:cNvPr id="50" name="Inhaltsplatzhalter 2"/>
          <p:cNvSpPr txBox="1">
            <a:spLocks/>
          </p:cNvSpPr>
          <p:nvPr>
            <p:custDataLst>
              <p:tags r:id="rId9"/>
            </p:custDataLst>
          </p:nvPr>
        </p:nvSpPr>
        <p:spPr>
          <a:xfrm>
            <a:off x="8838361"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r</a:t>
            </a:r>
            <a:endParaRPr lang="de-DE" sz="900" b="1" dirty="0">
              <a:solidFill>
                <a:srgbClr val="C0C0C0"/>
              </a:solidFill>
            </a:endParaRPr>
          </a:p>
        </p:txBody>
      </p:sp>
      <p:sp>
        <p:nvSpPr>
          <p:cNvPr id="51" name="Inhaltsplatzhalter 2"/>
          <p:cNvSpPr txBox="1">
            <a:spLocks/>
          </p:cNvSpPr>
          <p:nvPr>
            <p:custDataLst>
              <p:tags r:id="rId10"/>
            </p:custDataLst>
          </p:nvPr>
        </p:nvSpPr>
        <p:spPr>
          <a:xfrm>
            <a:off x="7444608"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rgbClr val="C0C0C0"/>
                </a:solidFill>
              </a:rPr>
              <a:t>R</a:t>
            </a:r>
            <a:endParaRPr lang="de-DE" sz="900" b="1" dirty="0">
              <a:solidFill>
                <a:srgbClr val="C0C0C0"/>
              </a:solidFill>
            </a:endParaRPr>
          </a:p>
        </p:txBody>
      </p:sp>
      <p:pic>
        <p:nvPicPr>
          <p:cNvPr id="53" name="Picture 4" descr="\\psf\Host\Volumes\Kerstin 2014\20141213\_Kerstin_141312\_form und glanz\Kunden\MPG_MPDL\18_Logo ESAC\220px-Open_Access_logo_PLoS_white.png"/>
          <p:cNvPicPr>
            <a:picLocks noChangeAspect="1" noChangeArrowheads="1"/>
          </p:cNvPicPr>
          <p:nvPr/>
        </p:nvPicPr>
        <p:blipFill>
          <a:blip r:embed="rId14"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301077" y="4195839"/>
            <a:ext cx="546170" cy="854012"/>
          </a:xfrm>
          <a:prstGeom prst="rect">
            <a:avLst/>
          </a:prstGeom>
          <a:noFill/>
          <a:extLst>
            <a:ext uri="{909E8E84-426E-40DD-AFC4-6F175D3DCCD1}">
              <a14:hiddenFill xmlns:a14="http://schemas.microsoft.com/office/drawing/2010/main">
                <a:solidFill>
                  <a:srgbClr val="FFFFFF"/>
                </a:solidFill>
              </a14:hiddenFill>
            </a:ext>
          </a:extLst>
        </p:spPr>
      </p:pic>
      <p:grpSp>
        <p:nvGrpSpPr>
          <p:cNvPr id="96" name="Gruppieren 95"/>
          <p:cNvGrpSpPr/>
          <p:nvPr/>
        </p:nvGrpSpPr>
        <p:grpSpPr>
          <a:xfrm>
            <a:off x="4646471" y="1592501"/>
            <a:ext cx="529678" cy="828429"/>
            <a:chOff x="4646471" y="1592501"/>
            <a:chExt cx="529678" cy="828429"/>
          </a:xfrm>
        </p:grpSpPr>
        <p:sp>
          <p:nvSpPr>
            <p:cNvPr id="95" name="Ellipse 94"/>
            <p:cNvSpPr/>
            <p:nvPr/>
          </p:nvSpPr>
          <p:spPr>
            <a:xfrm>
              <a:off x="4725671" y="1956185"/>
              <a:ext cx="381836" cy="3964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pic>
          <p:nvPicPr>
            <p:cNvPr id="6" name="Grafik 5"/>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46471" y="1592501"/>
              <a:ext cx="529678" cy="828429"/>
            </a:xfrm>
            <a:prstGeom prst="rect">
              <a:avLst/>
            </a:prstGeom>
          </p:spPr>
        </p:pic>
      </p:grpSp>
      <p:sp>
        <p:nvSpPr>
          <p:cNvPr id="97" name="Rechteck 96"/>
          <p:cNvSpPr/>
          <p:nvPr/>
        </p:nvSpPr>
        <p:spPr>
          <a:xfrm>
            <a:off x="304801" y="5997039"/>
            <a:ext cx="8991600" cy="660936"/>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rgbClr val="606060"/>
              </a:solidFill>
            </a:endParaRPr>
          </a:p>
        </p:txBody>
      </p:sp>
      <p:sp>
        <p:nvSpPr>
          <p:cNvPr id="98" name="Inhaltsplatzhalter 8"/>
          <p:cNvSpPr txBox="1">
            <a:spLocks/>
          </p:cNvSpPr>
          <p:nvPr/>
        </p:nvSpPr>
        <p:spPr>
          <a:xfrm>
            <a:off x="403761" y="6036368"/>
            <a:ext cx="8892640" cy="830997"/>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buClr>
                <a:srgbClr val="606060"/>
              </a:buClr>
            </a:pPr>
            <a:r>
              <a:rPr lang="de-DE" sz="1800" b="1" i="1" dirty="0" smtClean="0">
                <a:solidFill>
                  <a:srgbClr val="606060"/>
                </a:solidFill>
              </a:rPr>
              <a:t>OA soll direkt zum Wissenschaftler </a:t>
            </a:r>
            <a:r>
              <a:rPr lang="de-DE" sz="1800" b="1" dirty="0" smtClean="0">
                <a:solidFill>
                  <a:srgbClr val="606060"/>
                </a:solidFill>
              </a:rPr>
              <a:t>gebracht werden, und zwar durch </a:t>
            </a:r>
            <a:br>
              <a:rPr lang="de-DE" sz="1800" b="1" dirty="0" smtClean="0">
                <a:solidFill>
                  <a:srgbClr val="606060"/>
                </a:solidFill>
              </a:rPr>
            </a:br>
            <a:r>
              <a:rPr lang="de-DE" sz="1800" b="1" dirty="0" smtClean="0">
                <a:solidFill>
                  <a:srgbClr val="606060"/>
                </a:solidFill>
              </a:rPr>
              <a:t>eine Umstellung des Geschäftsmodells möglichst aller Zeitschriften</a:t>
            </a:r>
            <a:br>
              <a:rPr lang="de-DE" sz="1800" b="1" dirty="0" smtClean="0">
                <a:solidFill>
                  <a:srgbClr val="606060"/>
                </a:solidFill>
              </a:rPr>
            </a:br>
            <a:endParaRPr lang="de-DE" sz="1800" b="1" dirty="0">
              <a:solidFill>
                <a:srgbClr val="606060"/>
              </a:solidFill>
            </a:endParaRPr>
          </a:p>
        </p:txBody>
      </p:sp>
      <p:sp>
        <p:nvSpPr>
          <p:cNvPr id="67" name="Inhaltsplatzhalter 12"/>
          <p:cNvSpPr txBox="1">
            <a:spLocks/>
          </p:cNvSpPr>
          <p:nvPr/>
        </p:nvSpPr>
        <p:spPr>
          <a:xfrm>
            <a:off x="5077575" y="2378328"/>
            <a:ext cx="478649" cy="184666"/>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solidFill>
                  <a:srgbClr val="606060"/>
                </a:solidFill>
              </a:rPr>
              <a:t>PLOS</a:t>
            </a:r>
            <a:endParaRPr lang="de-DE" sz="1200" dirty="0">
              <a:solidFill>
                <a:srgbClr val="606060"/>
              </a:solidFill>
            </a:endParaRPr>
          </a:p>
        </p:txBody>
      </p:sp>
      <p:sp>
        <p:nvSpPr>
          <p:cNvPr id="64" name="Inhaltsplatzhalter 12"/>
          <p:cNvSpPr txBox="1">
            <a:spLocks/>
          </p:cNvSpPr>
          <p:nvPr/>
        </p:nvSpPr>
        <p:spPr>
          <a:xfrm>
            <a:off x="4793401" y="2967595"/>
            <a:ext cx="478649" cy="184666"/>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solidFill>
                  <a:srgbClr val="606060"/>
                </a:solidFill>
              </a:rPr>
              <a:t>CELL</a:t>
            </a:r>
            <a:endParaRPr lang="de-DE" sz="1200" dirty="0">
              <a:solidFill>
                <a:srgbClr val="606060"/>
              </a:solidFill>
            </a:endParaRPr>
          </a:p>
        </p:txBody>
      </p:sp>
      <p:sp>
        <p:nvSpPr>
          <p:cNvPr id="36" name="Foliennummernplatzhalter 4"/>
          <p:cNvSpPr>
            <a:spLocks noGrp="1"/>
          </p:cNvSpPr>
          <p:nvPr>
            <p:ph type="sldNum" sz="quarter" idx="12"/>
          </p:nvPr>
        </p:nvSpPr>
        <p:spPr>
          <a:xfrm>
            <a:off x="8931442" y="6659477"/>
            <a:ext cx="773912" cy="167164"/>
          </a:xfrm>
        </p:spPr>
        <p:txBody>
          <a:bodyPr/>
          <a:lstStyle/>
          <a:p>
            <a:fld id="{4AD1E780-DE1C-4ECA-B5E5-863D0BC53287}" type="slidenum">
              <a:rPr lang="de-DE" smtClean="0">
                <a:solidFill>
                  <a:prstClr val="black">
                    <a:tint val="75000"/>
                  </a:prstClr>
                </a:solidFill>
              </a:rPr>
              <a:pPr/>
              <a:t>7</a:t>
            </a:fld>
            <a:endParaRPr lang="de-DE" dirty="0">
              <a:solidFill>
                <a:prstClr val="black">
                  <a:tint val="75000"/>
                </a:prstClr>
              </a:solidFill>
            </a:endParaRPr>
          </a:p>
        </p:txBody>
      </p:sp>
    </p:spTree>
    <p:extLst>
      <p:ext uri="{BB962C8B-B14F-4D97-AF65-F5344CB8AC3E}">
        <p14:creationId xmlns:p14="http://schemas.microsoft.com/office/powerpoint/2010/main" val="27044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fade">
                                      <p:cBhvr>
                                        <p:cTn id="16" dur="500"/>
                                        <p:tgtEl>
                                          <p:spTgt spid="6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500"/>
                                        <p:tgtEl>
                                          <p:spTgt spid="6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0"/>
                                        </p:tgtEl>
                                        <p:attrNameLst>
                                          <p:attrName>style.visibility</p:attrName>
                                        </p:attrNameLst>
                                      </p:cBhvr>
                                      <p:to>
                                        <p:strVal val="visible"/>
                                      </p:to>
                                    </p:set>
                                    <p:animEffect transition="in" filter="fade">
                                      <p:cBhvr>
                                        <p:cTn id="22" dur="500"/>
                                        <p:tgtEl>
                                          <p:spTgt spid="6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animEffect transition="in" filter="fade">
                                      <p:cBhvr>
                                        <p:cTn id="25" dur="500"/>
                                        <p:tgtEl>
                                          <p:spTgt spid="64"/>
                                        </p:tgtEl>
                                      </p:cBhvr>
                                    </p:animEffect>
                                  </p:childTnLst>
                                </p:cTn>
                              </p:par>
                              <p:par>
                                <p:cTn id="26" presetID="10" presetClass="entr" presetSubtype="0" fill="hold" nodeType="with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7"/>
                                        </p:tgtEl>
                                        <p:attrNameLst>
                                          <p:attrName>style.visibility</p:attrName>
                                        </p:attrNameLst>
                                      </p:cBhvr>
                                      <p:to>
                                        <p:strVal val="visible"/>
                                      </p:to>
                                    </p:set>
                                    <p:animEffect transition="in" filter="fade">
                                      <p:cBhvr>
                                        <p:cTn id="31" dur="500"/>
                                        <p:tgtEl>
                                          <p:spTgt spid="67"/>
                                        </p:tgtEl>
                                      </p:cBhvr>
                                    </p:animEffect>
                                  </p:childTnLst>
                                </p:cTn>
                              </p:par>
                              <p:par>
                                <p:cTn id="32" presetID="10" presetClass="entr" presetSubtype="0" fill="hold" nodeType="withEffect">
                                  <p:stCondLst>
                                    <p:cond delay="0"/>
                                  </p:stCondLst>
                                  <p:childTnLst>
                                    <p:set>
                                      <p:cBhvr>
                                        <p:cTn id="33" dur="1" fill="hold">
                                          <p:stCondLst>
                                            <p:cond delay="0"/>
                                          </p:stCondLst>
                                        </p:cTn>
                                        <p:tgtEl>
                                          <p:spTgt spid="55"/>
                                        </p:tgtEl>
                                        <p:attrNameLst>
                                          <p:attrName>style.visibility</p:attrName>
                                        </p:attrNameLst>
                                      </p:cBhvr>
                                      <p:to>
                                        <p:strVal val="visible"/>
                                      </p:to>
                                    </p:set>
                                    <p:animEffect transition="in" filter="fade">
                                      <p:cBhvr>
                                        <p:cTn id="34" dur="500"/>
                                        <p:tgtEl>
                                          <p:spTgt spid="5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500"/>
                                        <p:tgtEl>
                                          <p:spTgt spid="7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3"/>
                                        </p:tgtEl>
                                        <p:attrNameLst>
                                          <p:attrName>style.visibility</p:attrName>
                                        </p:attrNameLst>
                                      </p:cBhvr>
                                      <p:to>
                                        <p:strVal val="visible"/>
                                      </p:to>
                                    </p:set>
                                    <p:animEffect transition="in" filter="fade">
                                      <p:cBhvr>
                                        <p:cTn id="40" dur="500"/>
                                        <p:tgtEl>
                                          <p:spTgt spid="7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0"/>
                                        </p:tgtEl>
                                        <p:attrNameLst>
                                          <p:attrName>style.visibility</p:attrName>
                                        </p:attrNameLst>
                                      </p:cBhvr>
                                      <p:to>
                                        <p:strVal val="visible"/>
                                      </p:to>
                                    </p:set>
                                    <p:animEffect transition="in" filter="fade">
                                      <p:cBhvr>
                                        <p:cTn id="43" dur="500"/>
                                        <p:tgtEl>
                                          <p:spTgt spid="7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61"/>
                                        </p:tgtEl>
                                        <p:attrNameLst>
                                          <p:attrName>style.visibility</p:attrName>
                                        </p:attrNameLst>
                                      </p:cBhvr>
                                      <p:to>
                                        <p:strVal val="visible"/>
                                      </p:to>
                                    </p:set>
                                    <p:animEffect transition="in" filter="fade">
                                      <p:cBhvr>
                                        <p:cTn id="46" dur="500"/>
                                        <p:tgtEl>
                                          <p:spTgt spid="61"/>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6"/>
                                        </p:tgtEl>
                                        <p:attrNameLst>
                                          <p:attrName>style.visibility</p:attrName>
                                        </p:attrNameLst>
                                      </p:cBhvr>
                                      <p:to>
                                        <p:strVal val="visible"/>
                                      </p:to>
                                    </p:set>
                                    <p:animEffect transition="in" filter="fade">
                                      <p:cBhvr>
                                        <p:cTn id="49" dur="500"/>
                                        <p:tgtEl>
                                          <p:spTgt spid="6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97"/>
                                        </p:tgtEl>
                                        <p:attrNameLst>
                                          <p:attrName>style.visibility</p:attrName>
                                        </p:attrNameLst>
                                      </p:cBhvr>
                                      <p:to>
                                        <p:strVal val="visible"/>
                                      </p:to>
                                    </p:set>
                                    <p:animEffect transition="in" filter="fade">
                                      <p:cBhvr>
                                        <p:cTn id="52" dur="500"/>
                                        <p:tgtEl>
                                          <p:spTgt spid="9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98"/>
                                        </p:tgtEl>
                                        <p:attrNameLst>
                                          <p:attrName>style.visibility</p:attrName>
                                        </p:attrNameLst>
                                      </p:cBhvr>
                                      <p:to>
                                        <p:strVal val="visible"/>
                                      </p:to>
                                    </p:set>
                                    <p:animEffect transition="in" filter="fade">
                                      <p:cBhvr>
                                        <p:cTn id="55" dur="500"/>
                                        <p:tgtEl>
                                          <p:spTgt spid="98"/>
                                        </p:tgtEl>
                                      </p:cBhvr>
                                    </p:animEffect>
                                  </p:childTnLst>
                                </p:cTn>
                              </p:par>
                            </p:childTnLst>
                          </p:cTn>
                        </p:par>
                      </p:childTnLst>
                    </p:cTn>
                  </p:par>
                  <p:par>
                    <p:cTn id="56" fill="hold">
                      <p:stCondLst>
                        <p:cond delay="indefinite"/>
                      </p:stCondLst>
                      <p:childTnLst>
                        <p:par>
                          <p:cTn id="57" fill="hold">
                            <p:stCondLst>
                              <p:cond delay="0"/>
                            </p:stCondLst>
                            <p:childTnLst>
                              <p:par>
                                <p:cTn id="58" presetID="0" presetClass="path" presetSubtype="0" accel="50000" decel="50000" fill="hold" nodeType="clickEffect">
                                  <p:stCondLst>
                                    <p:cond delay="0"/>
                                  </p:stCondLst>
                                  <p:childTnLst>
                                    <p:animMotion origin="layout" path="M 1.1136E-6 -2.14715E-6 C 0.06121 -0.10597 0.12258 -0.21194 0.17882 -0.27556 C 0.23506 -0.33942 0.28601 -0.36094 0.33712 -0.382 " pathEditMode="relative" rAng="0" ptsTypes="aaA">
                                      <p:cBhvr>
                                        <p:cTn id="59" dur="4000" fill="hold"/>
                                        <p:tgtEl>
                                          <p:spTgt spid="53"/>
                                        </p:tgtEl>
                                        <p:attrNameLst>
                                          <p:attrName>ppt_x</p:attrName>
                                          <p:attrName>ppt_y</p:attrName>
                                        </p:attrNameLst>
                                      </p:cBhvr>
                                      <p:rCtr x="16856" y="-19112"/>
                                    </p:animMotion>
                                  </p:childTnLst>
                                </p:cTn>
                              </p:par>
                              <p:par>
                                <p:cTn id="60" presetID="10" presetClass="exit" presetSubtype="0" fill="hold" nodeType="withEffect">
                                  <p:stCondLst>
                                    <p:cond delay="2900"/>
                                  </p:stCondLst>
                                  <p:childTnLst>
                                    <p:animEffect transition="out" filter="fade">
                                      <p:cBhvr>
                                        <p:cTn id="61" dur="1100"/>
                                        <p:tgtEl>
                                          <p:spTgt spid="53"/>
                                        </p:tgtEl>
                                      </p:cBhvr>
                                    </p:animEffect>
                                    <p:set>
                                      <p:cBhvr>
                                        <p:cTn id="62" dur="1" fill="hold">
                                          <p:stCondLst>
                                            <p:cond delay="1099"/>
                                          </p:stCondLst>
                                        </p:cTn>
                                        <p:tgtEl>
                                          <p:spTgt spid="53"/>
                                        </p:tgtEl>
                                        <p:attrNameLst>
                                          <p:attrName>style.visibility</p:attrName>
                                        </p:attrNameLst>
                                      </p:cBhvr>
                                      <p:to>
                                        <p:strVal val="hidden"/>
                                      </p:to>
                                    </p:set>
                                  </p:childTnLst>
                                </p:cTn>
                              </p:par>
                              <p:par>
                                <p:cTn id="63" presetID="10" presetClass="entr" presetSubtype="0" fill="hold" nodeType="withEffect">
                                  <p:stCondLst>
                                    <p:cond delay="3600"/>
                                  </p:stCondLst>
                                  <p:childTnLst>
                                    <p:set>
                                      <p:cBhvr>
                                        <p:cTn id="64" dur="1" fill="hold">
                                          <p:stCondLst>
                                            <p:cond delay="0"/>
                                          </p:stCondLst>
                                        </p:cTn>
                                        <p:tgtEl>
                                          <p:spTgt spid="96"/>
                                        </p:tgtEl>
                                        <p:attrNameLst>
                                          <p:attrName>style.visibility</p:attrName>
                                        </p:attrNameLst>
                                      </p:cBhvr>
                                      <p:to>
                                        <p:strVal val="visible"/>
                                      </p:to>
                                    </p:set>
                                    <p:animEffect transition="in" filter="fade">
                                      <p:cBhvr>
                                        <p:cTn id="65" dur="800"/>
                                        <p:tgtEl>
                                          <p:spTgt spid="96"/>
                                        </p:tgtEl>
                                      </p:cBhvr>
                                    </p:animEffect>
                                  </p:childTnLst>
                                </p:cTn>
                              </p:par>
                            </p:childTnLst>
                          </p:cTn>
                        </p:par>
                        <p:par>
                          <p:cTn id="66" fill="hold">
                            <p:stCondLst>
                              <p:cond delay="4400"/>
                            </p:stCondLst>
                            <p:childTnLst>
                              <p:par>
                                <p:cTn id="67" presetID="7" presetClass="emph" presetSubtype="2" fill="hold" nodeType="afterEffect">
                                  <p:stCondLst>
                                    <p:cond delay="0"/>
                                  </p:stCondLst>
                                  <p:childTnLst>
                                    <p:animClr clrSpc="rgb" dir="cw">
                                      <p:cBhvr>
                                        <p:cTn id="68" dur="2000" fill="hold"/>
                                        <p:tgtEl>
                                          <p:spTgt spid="58"/>
                                        </p:tgtEl>
                                        <p:attrNameLst>
                                          <p:attrName>stroke.color</p:attrName>
                                        </p:attrNameLst>
                                      </p:cBhvr>
                                      <p:to>
                                        <a:srgbClr val="F29A00"/>
                                      </p:to>
                                    </p:animClr>
                                    <p:set>
                                      <p:cBhvr>
                                        <p:cTn id="69" dur="2000" fill="hold"/>
                                        <p:tgtEl>
                                          <p:spTgt spid="58"/>
                                        </p:tgtEl>
                                        <p:attrNameLst>
                                          <p:attrName>stroke.on</p:attrName>
                                        </p:attrNameLst>
                                      </p:cBhvr>
                                      <p:to>
                                        <p:strVal val="true"/>
                                      </p:to>
                                    </p:set>
                                  </p:childTnLst>
                                </p:cTn>
                              </p:par>
                              <p:par>
                                <p:cTn id="70" presetID="7" presetClass="emph" presetSubtype="2" fill="hold" nodeType="withEffect">
                                  <p:stCondLst>
                                    <p:cond delay="0"/>
                                  </p:stCondLst>
                                  <p:childTnLst>
                                    <p:animClr clrSpc="rgb" dir="cw">
                                      <p:cBhvr>
                                        <p:cTn id="71" dur="2000" fill="hold"/>
                                        <p:tgtEl>
                                          <p:spTgt spid="57"/>
                                        </p:tgtEl>
                                        <p:attrNameLst>
                                          <p:attrName>stroke.color</p:attrName>
                                        </p:attrNameLst>
                                      </p:cBhvr>
                                      <p:to>
                                        <a:srgbClr val="F29A00"/>
                                      </p:to>
                                    </p:animClr>
                                    <p:set>
                                      <p:cBhvr>
                                        <p:cTn id="72" dur="2000" fill="hold"/>
                                        <p:tgtEl>
                                          <p:spTgt spid="57"/>
                                        </p:tgtEl>
                                        <p:attrNameLst>
                                          <p:attrName>stroke.on</p:attrName>
                                        </p:attrNameLst>
                                      </p:cBhvr>
                                      <p:to>
                                        <p:strVal val="true"/>
                                      </p:to>
                                    </p:set>
                                  </p:childTnLst>
                                </p:cTn>
                              </p:par>
                              <p:par>
                                <p:cTn id="73" presetID="7" presetClass="emph" presetSubtype="2" fill="hold" nodeType="withEffect">
                                  <p:stCondLst>
                                    <p:cond delay="0"/>
                                  </p:stCondLst>
                                  <p:childTnLst>
                                    <p:animClr clrSpc="rgb" dir="cw">
                                      <p:cBhvr>
                                        <p:cTn id="74" dur="2000" fill="hold"/>
                                        <p:tgtEl>
                                          <p:spTgt spid="69"/>
                                        </p:tgtEl>
                                        <p:attrNameLst>
                                          <p:attrName>stroke.color</p:attrName>
                                        </p:attrNameLst>
                                      </p:cBhvr>
                                      <p:to>
                                        <a:srgbClr val="F29A00"/>
                                      </p:to>
                                    </p:animClr>
                                    <p:set>
                                      <p:cBhvr>
                                        <p:cTn id="75" dur="2000" fill="hold"/>
                                        <p:tgtEl>
                                          <p:spTgt spid="69"/>
                                        </p:tgtEl>
                                        <p:attrNameLst>
                                          <p:attrName>stroke.on</p:attrName>
                                        </p:attrNameLst>
                                      </p:cBhvr>
                                      <p:to>
                                        <p:strVal val="true"/>
                                      </p:to>
                                    </p:set>
                                  </p:childTnLst>
                                </p:cTn>
                              </p:par>
                              <p:par>
                                <p:cTn id="76" presetID="7" presetClass="emph" presetSubtype="2" fill="hold" nodeType="withEffect">
                                  <p:stCondLst>
                                    <p:cond delay="0"/>
                                  </p:stCondLst>
                                  <p:childTnLst>
                                    <p:animClr clrSpc="rgb" dir="cw">
                                      <p:cBhvr>
                                        <p:cTn id="77" dur="2000" fill="hold"/>
                                        <p:tgtEl>
                                          <p:spTgt spid="60"/>
                                        </p:tgtEl>
                                        <p:attrNameLst>
                                          <p:attrName>stroke.color</p:attrName>
                                        </p:attrNameLst>
                                      </p:cBhvr>
                                      <p:to>
                                        <a:srgbClr val="F29A00"/>
                                      </p:to>
                                    </p:animClr>
                                    <p:set>
                                      <p:cBhvr>
                                        <p:cTn id="78" dur="2000" fill="hold"/>
                                        <p:tgtEl>
                                          <p:spTgt spid="60"/>
                                        </p:tgtEl>
                                        <p:attrNameLst>
                                          <p:attrName>stroke.on</p:attrName>
                                        </p:attrNameLst>
                                      </p:cBhvr>
                                      <p:to>
                                        <p:strVal val="true"/>
                                      </p:to>
                                    </p:set>
                                  </p:childTnLst>
                                </p:cTn>
                              </p:par>
                              <p:par>
                                <p:cTn id="79" presetID="7" presetClass="emph" presetSubtype="2" fill="hold" nodeType="withEffect">
                                  <p:stCondLst>
                                    <p:cond delay="0"/>
                                  </p:stCondLst>
                                  <p:childTnLst>
                                    <p:animClr clrSpc="rgb" dir="cw">
                                      <p:cBhvr>
                                        <p:cTn id="80" dur="2000" fill="hold"/>
                                        <p:tgtEl>
                                          <p:spTgt spid="17"/>
                                        </p:tgtEl>
                                        <p:attrNameLst>
                                          <p:attrName>stroke.color</p:attrName>
                                        </p:attrNameLst>
                                      </p:cBhvr>
                                      <p:to>
                                        <a:srgbClr val="F29A00"/>
                                      </p:to>
                                    </p:animClr>
                                    <p:set>
                                      <p:cBhvr>
                                        <p:cTn id="81" dur="2000" fill="hold"/>
                                        <p:tgtEl>
                                          <p:spTgt spid="17"/>
                                        </p:tgtEl>
                                        <p:attrNameLst>
                                          <p:attrName>stroke.on</p:attrName>
                                        </p:attrNameLst>
                                      </p:cBhvr>
                                      <p:to>
                                        <p:strVal val="true"/>
                                      </p:to>
                                    </p:set>
                                  </p:childTnLst>
                                </p:cTn>
                              </p:par>
                              <p:par>
                                <p:cTn id="82" presetID="7" presetClass="emph" presetSubtype="2" fill="hold" nodeType="withEffect">
                                  <p:stCondLst>
                                    <p:cond delay="0"/>
                                  </p:stCondLst>
                                  <p:childTnLst>
                                    <p:animClr clrSpc="rgb" dir="cw">
                                      <p:cBhvr>
                                        <p:cTn id="83" dur="2000" fill="hold"/>
                                        <p:tgtEl>
                                          <p:spTgt spid="66"/>
                                        </p:tgtEl>
                                        <p:attrNameLst>
                                          <p:attrName>stroke.color</p:attrName>
                                        </p:attrNameLst>
                                      </p:cBhvr>
                                      <p:to>
                                        <a:srgbClr val="F29A00"/>
                                      </p:to>
                                    </p:animClr>
                                    <p:set>
                                      <p:cBhvr>
                                        <p:cTn id="84" dur="2000" fill="hold"/>
                                        <p:tgtEl>
                                          <p:spTgt spid="66"/>
                                        </p:tgtEl>
                                        <p:attrNameLst>
                                          <p:attrName>stroke.on</p:attrName>
                                        </p:attrNameLst>
                                      </p:cBhvr>
                                      <p:to>
                                        <p:strVal val="true"/>
                                      </p:to>
                                    </p:set>
                                  </p:childTnLst>
                                </p:cTn>
                              </p:par>
                            </p:childTnLst>
                          </p:cTn>
                        </p:par>
                      </p:childTnLst>
                    </p:cTn>
                  </p:par>
                  <p:par>
                    <p:cTn id="85" fill="hold">
                      <p:stCondLst>
                        <p:cond delay="indefinite"/>
                      </p:stCondLst>
                      <p:childTnLst>
                        <p:par>
                          <p:cTn id="86" fill="hold">
                            <p:stCondLst>
                              <p:cond delay="0"/>
                            </p:stCondLst>
                            <p:childTnLst>
                              <p:par>
                                <p:cTn id="87" presetID="0" presetClass="path" presetSubtype="0" accel="50000" decel="50000" fill="hold" nodeType="clickEffect">
                                  <p:stCondLst>
                                    <p:cond delay="0"/>
                                  </p:stCondLst>
                                  <p:childTnLst>
                                    <p:animMotion origin="layout" path="M 0.00032 0.00046 C 0.02965 0.02128 0.12162 0.06177 0.17642 0.12517 C 0.23122 0.18857 0.29707 0.32809 0.3288 0.38153 " pathEditMode="relative" rAng="0" ptsTypes="aaa">
                                      <p:cBhvr>
                                        <p:cTn id="88" dur="2000" fill="hold"/>
                                        <p:tgtEl>
                                          <p:spTgt spid="96"/>
                                        </p:tgtEl>
                                        <p:attrNameLst>
                                          <p:attrName>ppt_x</p:attrName>
                                          <p:attrName>ppt_y</p:attrName>
                                        </p:attrNameLst>
                                      </p:cBhvr>
                                      <p:rCtr x="16424" y="19042"/>
                                    </p:animMotion>
                                  </p:childTnLst>
                                </p:cTn>
                              </p:par>
                              <p:par>
                                <p:cTn id="89" presetID="10" presetClass="exit" presetSubtype="0" fill="hold" nodeType="withEffect">
                                  <p:stCondLst>
                                    <p:cond delay="800"/>
                                  </p:stCondLst>
                                  <p:childTnLst>
                                    <p:animEffect transition="out" filter="fade">
                                      <p:cBhvr>
                                        <p:cTn id="90" dur="1100"/>
                                        <p:tgtEl>
                                          <p:spTgt spid="54"/>
                                        </p:tgtEl>
                                      </p:cBhvr>
                                    </p:animEffect>
                                    <p:set>
                                      <p:cBhvr>
                                        <p:cTn id="91" dur="1" fill="hold">
                                          <p:stCondLst>
                                            <p:cond delay="1099"/>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6" grpId="0" animBg="1"/>
      <p:bldP spid="72" grpId="0" animBg="1"/>
      <p:bldP spid="73" grpId="0"/>
      <p:bldP spid="69" grpId="0" animBg="1"/>
      <p:bldP spid="70" grpId="0"/>
      <p:bldP spid="60" grpId="0" animBg="1"/>
      <p:bldP spid="61" grpId="0"/>
      <p:bldP spid="97" grpId="0" animBg="1"/>
      <p:bldP spid="98" grpId="0"/>
      <p:bldP spid="67" grpId="0"/>
      <p:bldP spid="6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hteck 118"/>
          <p:cNvSpPr/>
          <p:nvPr/>
        </p:nvSpPr>
        <p:spPr>
          <a:xfrm>
            <a:off x="3188555" y="2723309"/>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117" name="Rechteck 116"/>
          <p:cNvSpPr/>
          <p:nvPr/>
        </p:nvSpPr>
        <p:spPr>
          <a:xfrm>
            <a:off x="6101752" y="2408706"/>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118" name="Rechteck 117"/>
          <p:cNvSpPr/>
          <p:nvPr/>
        </p:nvSpPr>
        <p:spPr>
          <a:xfrm>
            <a:off x="4708057" y="1654055"/>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4" name="Ellipse 3"/>
          <p:cNvSpPr/>
          <p:nvPr/>
        </p:nvSpPr>
        <p:spPr>
          <a:xfrm>
            <a:off x="3276600" y="3778874"/>
            <a:ext cx="3295650" cy="1676400"/>
          </a:xfrm>
          <a:custGeom>
            <a:avLst/>
            <a:gdLst>
              <a:gd name="connsiteX0" fmla="*/ 0 w 3295650"/>
              <a:gd name="connsiteY0" fmla="*/ 1676400 h 3352800"/>
              <a:gd name="connsiteX1" fmla="*/ 1647825 w 3295650"/>
              <a:gd name="connsiteY1" fmla="*/ 0 h 3352800"/>
              <a:gd name="connsiteX2" fmla="*/ 3295650 w 3295650"/>
              <a:gd name="connsiteY2" fmla="*/ 1676400 h 3352800"/>
              <a:gd name="connsiteX3" fmla="*/ 1647825 w 3295650"/>
              <a:gd name="connsiteY3" fmla="*/ 3352800 h 3352800"/>
              <a:gd name="connsiteX4" fmla="*/ 0 w 3295650"/>
              <a:gd name="connsiteY4" fmla="*/ 1676400 h 3352800"/>
              <a:gd name="connsiteX0" fmla="*/ 0 w 3295650"/>
              <a:gd name="connsiteY0" fmla="*/ 1676400 h 1676400"/>
              <a:gd name="connsiteX1" fmla="*/ 1647825 w 3295650"/>
              <a:gd name="connsiteY1" fmla="*/ 0 h 1676400"/>
              <a:gd name="connsiteX2" fmla="*/ 3295650 w 3295650"/>
              <a:gd name="connsiteY2" fmla="*/ 1676400 h 1676400"/>
              <a:gd name="connsiteX3" fmla="*/ 0 w 3295650"/>
              <a:gd name="connsiteY3" fmla="*/ 1676400 h 1676400"/>
              <a:gd name="connsiteX0" fmla="*/ 0 w 3295650"/>
              <a:gd name="connsiteY0" fmla="*/ 1676400 h 1799178"/>
              <a:gd name="connsiteX1" fmla="*/ 1647825 w 3295650"/>
              <a:gd name="connsiteY1" fmla="*/ 0 h 1799178"/>
              <a:gd name="connsiteX2" fmla="*/ 3295650 w 3295650"/>
              <a:gd name="connsiteY2" fmla="*/ 1676400 h 1799178"/>
              <a:gd name="connsiteX3" fmla="*/ 0 w 3295650"/>
              <a:gd name="connsiteY3" fmla="*/ 1676400 h 1799178"/>
              <a:gd name="connsiteX0" fmla="*/ 0 w 3295650"/>
              <a:gd name="connsiteY0" fmla="*/ 1676400 h 1799178"/>
              <a:gd name="connsiteX1" fmla="*/ 1647825 w 3295650"/>
              <a:gd name="connsiteY1" fmla="*/ 0 h 1799178"/>
              <a:gd name="connsiteX2" fmla="*/ 3295650 w 3295650"/>
              <a:gd name="connsiteY2" fmla="*/ 1676400 h 1799178"/>
              <a:gd name="connsiteX3" fmla="*/ 0 w 3295650"/>
              <a:gd name="connsiteY3" fmla="*/ 1676400 h 1799178"/>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6400"/>
              <a:gd name="connsiteX1" fmla="*/ 1647825 w 3295650"/>
              <a:gd name="connsiteY1" fmla="*/ 0 h 1676400"/>
              <a:gd name="connsiteX2" fmla="*/ 3295650 w 3295650"/>
              <a:gd name="connsiteY2" fmla="*/ 1676400 h 1676400"/>
              <a:gd name="connsiteX3" fmla="*/ 0 w 3295650"/>
              <a:gd name="connsiteY3" fmla="*/ 1676400 h 1676400"/>
            </a:gdLst>
            <a:ahLst/>
            <a:cxnLst>
              <a:cxn ang="0">
                <a:pos x="connsiteX0" y="connsiteY0"/>
              </a:cxn>
              <a:cxn ang="0">
                <a:pos x="connsiteX1" y="connsiteY1"/>
              </a:cxn>
              <a:cxn ang="0">
                <a:pos x="connsiteX2" y="connsiteY2"/>
              </a:cxn>
              <a:cxn ang="0">
                <a:pos x="connsiteX3" y="connsiteY3"/>
              </a:cxn>
            </a:cxnLst>
            <a:rect l="l" t="t" r="r" b="b"/>
            <a:pathLst>
              <a:path w="3295650" h="1676400">
                <a:moveTo>
                  <a:pt x="0" y="1676400"/>
                </a:moveTo>
                <a:cubicBezTo>
                  <a:pt x="0" y="750550"/>
                  <a:pt x="737756" y="0"/>
                  <a:pt x="1647825" y="0"/>
                </a:cubicBezTo>
                <a:cubicBezTo>
                  <a:pt x="2557894" y="0"/>
                  <a:pt x="3295650" y="750550"/>
                  <a:pt x="3295650" y="1676400"/>
                </a:cubicBezTo>
                <a:lnTo>
                  <a:pt x="0" y="1676400"/>
                </a:lnTo>
                <a:close/>
              </a:path>
            </a:pathLst>
          </a:cu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115" name="Rechteck 114"/>
          <p:cNvSpPr/>
          <p:nvPr/>
        </p:nvSpPr>
        <p:spPr>
          <a:xfrm>
            <a:off x="5761294" y="1984157"/>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18" name="Textplatzhalter 17"/>
          <p:cNvSpPr>
            <a:spLocks noGrp="1"/>
          </p:cNvSpPr>
          <p:nvPr>
            <p:ph type="body" sz="quarter" idx="13"/>
          </p:nvPr>
        </p:nvSpPr>
        <p:spPr>
          <a:xfrm>
            <a:off x="111269" y="453574"/>
            <a:ext cx="7968202" cy="697671"/>
          </a:xfrm>
        </p:spPr>
        <p:txBody>
          <a:bodyPr/>
          <a:lstStyle/>
          <a:p>
            <a:pPr>
              <a:spcBef>
                <a:spcPts val="0"/>
              </a:spcBef>
              <a:buClrTx/>
              <a:defRPr/>
            </a:pPr>
            <a:r>
              <a:rPr lang="de-DE" dirty="0" smtClean="0"/>
              <a:t>Verankerung von OA als natürliche Publikationsbedingung</a:t>
            </a:r>
            <a:endParaRPr lang="de-DE" dirty="0"/>
          </a:p>
        </p:txBody>
      </p:sp>
      <p:cxnSp>
        <p:nvCxnSpPr>
          <p:cNvPr id="56" name="Gerade Verbindung 55"/>
          <p:cNvCxnSpPr/>
          <p:nvPr/>
        </p:nvCxnSpPr>
        <p:spPr>
          <a:xfrm flipV="1">
            <a:off x="4023015" y="3059928"/>
            <a:ext cx="0" cy="149767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63" name="Rechteck 62"/>
          <p:cNvSpPr/>
          <p:nvPr/>
        </p:nvSpPr>
        <p:spPr>
          <a:xfrm>
            <a:off x="3745955" y="2250962"/>
            <a:ext cx="530492" cy="79573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cxnSp>
        <p:nvCxnSpPr>
          <p:cNvPr id="17" name="Gerade Verbindung 16"/>
          <p:cNvCxnSpPr/>
          <p:nvPr/>
        </p:nvCxnSpPr>
        <p:spPr>
          <a:xfrm flipV="1">
            <a:off x="4595516" y="2592001"/>
            <a:ext cx="7991" cy="154079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66" name="Rechteck 65"/>
          <p:cNvSpPr/>
          <p:nvPr/>
        </p:nvSpPr>
        <p:spPr>
          <a:xfrm>
            <a:off x="4316913" y="1912985"/>
            <a:ext cx="533168" cy="675953"/>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cxnSp>
        <p:nvCxnSpPr>
          <p:cNvPr id="55" name="Gerade Verbindung 54"/>
          <p:cNvCxnSpPr/>
          <p:nvPr/>
        </p:nvCxnSpPr>
        <p:spPr>
          <a:xfrm flipV="1">
            <a:off x="5298215" y="2923591"/>
            <a:ext cx="0" cy="1125597"/>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72" name="Rechteck 71"/>
          <p:cNvSpPr/>
          <p:nvPr/>
        </p:nvSpPr>
        <p:spPr>
          <a:xfrm>
            <a:off x="4977907" y="2070415"/>
            <a:ext cx="606402" cy="853176"/>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cxnSp>
        <p:nvCxnSpPr>
          <p:cNvPr id="58" name="Gerade Verbindung 57"/>
          <p:cNvCxnSpPr>
            <a:endCxn id="69" idx="2"/>
          </p:cNvCxnSpPr>
          <p:nvPr/>
        </p:nvCxnSpPr>
        <p:spPr>
          <a:xfrm flipH="1" flipV="1">
            <a:off x="5941009" y="3256578"/>
            <a:ext cx="1698" cy="151702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69" name="Rechteck 68"/>
          <p:cNvSpPr/>
          <p:nvPr/>
        </p:nvSpPr>
        <p:spPr>
          <a:xfrm>
            <a:off x="5564080" y="2199132"/>
            <a:ext cx="753858" cy="1057446"/>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cxnSp>
        <p:nvCxnSpPr>
          <p:cNvPr id="57" name="Gerade Verbindung 56"/>
          <p:cNvCxnSpPr/>
          <p:nvPr/>
        </p:nvCxnSpPr>
        <p:spPr>
          <a:xfrm flipV="1">
            <a:off x="4985107" y="3457796"/>
            <a:ext cx="0" cy="81866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60" name="Rechteck 59"/>
          <p:cNvSpPr/>
          <p:nvPr/>
        </p:nvSpPr>
        <p:spPr>
          <a:xfrm>
            <a:off x="4737199" y="2700000"/>
            <a:ext cx="485508" cy="758176"/>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sp>
        <p:nvSpPr>
          <p:cNvPr id="97" name="Rechteck 96"/>
          <p:cNvSpPr/>
          <p:nvPr/>
        </p:nvSpPr>
        <p:spPr>
          <a:xfrm>
            <a:off x="304801" y="5997039"/>
            <a:ext cx="8991600" cy="660936"/>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rgbClr val="606060"/>
              </a:solidFill>
            </a:endParaRPr>
          </a:p>
        </p:txBody>
      </p:sp>
      <p:sp>
        <p:nvSpPr>
          <p:cNvPr id="98" name="Inhaltsplatzhalter 8"/>
          <p:cNvSpPr txBox="1">
            <a:spLocks/>
          </p:cNvSpPr>
          <p:nvPr/>
        </p:nvSpPr>
        <p:spPr>
          <a:xfrm>
            <a:off x="403761" y="6060118"/>
            <a:ext cx="8892640" cy="553998"/>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buClr>
                <a:srgbClr val="606060"/>
              </a:buClr>
            </a:pPr>
            <a:r>
              <a:rPr lang="de-DE" sz="1800" b="1" dirty="0" smtClean="0">
                <a:solidFill>
                  <a:srgbClr val="606060"/>
                </a:solidFill>
              </a:rPr>
              <a:t>Nicht die Wissenschaftler sollen sich zu OA bewegen müssen, sondern durch </a:t>
            </a:r>
            <a:br>
              <a:rPr lang="de-DE" sz="1800" b="1" dirty="0" smtClean="0">
                <a:solidFill>
                  <a:srgbClr val="606060"/>
                </a:solidFill>
              </a:rPr>
            </a:br>
            <a:r>
              <a:rPr lang="de-DE" sz="1800" b="1" dirty="0" smtClean="0">
                <a:solidFill>
                  <a:srgbClr val="606060"/>
                </a:solidFill>
              </a:rPr>
              <a:t>die Änderung des Geschäftsmodells soll OA überall verankert werden</a:t>
            </a:r>
            <a:endParaRPr lang="de-DE" sz="1800" b="1" dirty="0">
              <a:solidFill>
                <a:srgbClr val="606060"/>
              </a:solidFill>
            </a:endParaRPr>
          </a:p>
        </p:txBody>
      </p:sp>
      <p:grpSp>
        <p:nvGrpSpPr>
          <p:cNvPr id="121" name="Gruppieren 120"/>
          <p:cNvGrpSpPr/>
          <p:nvPr/>
        </p:nvGrpSpPr>
        <p:grpSpPr>
          <a:xfrm>
            <a:off x="4137490" y="3174028"/>
            <a:ext cx="353970" cy="1497672"/>
            <a:chOff x="4137490" y="3174028"/>
            <a:chExt cx="353970" cy="1497672"/>
          </a:xfrm>
        </p:grpSpPr>
        <p:cxnSp>
          <p:nvCxnSpPr>
            <p:cNvPr id="99" name="Gerade Verbindung 98"/>
            <p:cNvCxnSpPr>
              <a:endCxn id="100" idx="2"/>
            </p:cNvCxnSpPr>
            <p:nvPr/>
          </p:nvCxnSpPr>
          <p:spPr>
            <a:xfrm flipV="1">
              <a:off x="4314475" y="3737118"/>
              <a:ext cx="0" cy="93458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0" name="Rechteck 99"/>
            <p:cNvSpPr/>
            <p:nvPr/>
          </p:nvSpPr>
          <p:spPr>
            <a:xfrm>
              <a:off x="4137490" y="3174028"/>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grpSp>
      <p:grpSp>
        <p:nvGrpSpPr>
          <p:cNvPr id="123" name="Gruppieren 122"/>
          <p:cNvGrpSpPr/>
          <p:nvPr/>
        </p:nvGrpSpPr>
        <p:grpSpPr>
          <a:xfrm>
            <a:off x="6093471" y="3216375"/>
            <a:ext cx="530492" cy="1950985"/>
            <a:chOff x="6093471" y="3216375"/>
            <a:chExt cx="530492" cy="1950985"/>
          </a:xfrm>
        </p:grpSpPr>
        <p:cxnSp>
          <p:nvCxnSpPr>
            <p:cNvPr id="102" name="Gerade Verbindung 101"/>
            <p:cNvCxnSpPr/>
            <p:nvPr/>
          </p:nvCxnSpPr>
          <p:spPr>
            <a:xfrm flipV="1">
              <a:off x="6358717" y="4015089"/>
              <a:ext cx="0" cy="1152271"/>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3" name="Rechteck 102"/>
            <p:cNvSpPr/>
            <p:nvPr/>
          </p:nvSpPr>
          <p:spPr>
            <a:xfrm>
              <a:off x="6093471" y="3216375"/>
              <a:ext cx="530492" cy="79573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grpSp>
      <p:grpSp>
        <p:nvGrpSpPr>
          <p:cNvPr id="120" name="Gruppieren 119"/>
          <p:cNvGrpSpPr/>
          <p:nvPr/>
        </p:nvGrpSpPr>
        <p:grpSpPr>
          <a:xfrm>
            <a:off x="5407324" y="3427423"/>
            <a:ext cx="353970" cy="1497672"/>
            <a:chOff x="5407324" y="3427423"/>
            <a:chExt cx="353970" cy="1497672"/>
          </a:xfrm>
        </p:grpSpPr>
        <p:cxnSp>
          <p:nvCxnSpPr>
            <p:cNvPr id="107" name="Gerade Verbindung 106"/>
            <p:cNvCxnSpPr>
              <a:endCxn id="108" idx="2"/>
            </p:cNvCxnSpPr>
            <p:nvPr/>
          </p:nvCxnSpPr>
          <p:spPr>
            <a:xfrm flipV="1">
              <a:off x="5584309" y="3990513"/>
              <a:ext cx="0" cy="93458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8" name="Rechteck 107"/>
            <p:cNvSpPr/>
            <p:nvPr/>
          </p:nvSpPr>
          <p:spPr>
            <a:xfrm>
              <a:off x="5407324" y="3427423"/>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grpSp>
      <p:grpSp>
        <p:nvGrpSpPr>
          <p:cNvPr id="122" name="Gruppieren 121"/>
          <p:cNvGrpSpPr/>
          <p:nvPr/>
        </p:nvGrpSpPr>
        <p:grpSpPr>
          <a:xfrm>
            <a:off x="3310730" y="2979628"/>
            <a:ext cx="591619" cy="1945467"/>
            <a:chOff x="3310730" y="2979628"/>
            <a:chExt cx="591619" cy="1945467"/>
          </a:xfrm>
        </p:grpSpPr>
        <p:cxnSp>
          <p:nvCxnSpPr>
            <p:cNvPr id="109" name="Gerade Verbindung 108"/>
            <p:cNvCxnSpPr>
              <a:endCxn id="110" idx="2"/>
            </p:cNvCxnSpPr>
            <p:nvPr/>
          </p:nvCxnSpPr>
          <p:spPr>
            <a:xfrm flipV="1">
              <a:off x="3606539" y="3831463"/>
              <a:ext cx="1" cy="109363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0" name="Rechteck 109"/>
            <p:cNvSpPr/>
            <p:nvPr/>
          </p:nvSpPr>
          <p:spPr>
            <a:xfrm>
              <a:off x="3310730" y="2979628"/>
              <a:ext cx="591619" cy="851835"/>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prstClr val="black"/>
                </a:solidFill>
              </a:endParaRPr>
            </a:p>
          </p:txBody>
        </p:sp>
      </p:grpSp>
      <p:sp>
        <p:nvSpPr>
          <p:cNvPr id="37" name="Inhaltsplatzhalter 12"/>
          <p:cNvSpPr txBox="1">
            <a:spLocks/>
          </p:cNvSpPr>
          <p:nvPr/>
        </p:nvSpPr>
        <p:spPr>
          <a:xfrm>
            <a:off x="4357622" y="2164862"/>
            <a:ext cx="579580" cy="184666"/>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solidFill>
                  <a:srgbClr val="606060"/>
                </a:solidFill>
              </a:rPr>
              <a:t>Nature</a:t>
            </a:r>
            <a:endParaRPr lang="de-DE" sz="1200" dirty="0">
              <a:solidFill>
                <a:srgbClr val="606060"/>
              </a:solidFill>
            </a:endParaRPr>
          </a:p>
        </p:txBody>
      </p:sp>
      <p:sp>
        <p:nvSpPr>
          <p:cNvPr id="38" name="Inhaltsplatzhalter 12"/>
          <p:cNvSpPr txBox="1">
            <a:spLocks/>
          </p:cNvSpPr>
          <p:nvPr/>
        </p:nvSpPr>
        <p:spPr>
          <a:xfrm>
            <a:off x="5608155" y="2607667"/>
            <a:ext cx="778796" cy="184666"/>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solidFill>
                  <a:srgbClr val="606060"/>
                </a:solidFill>
              </a:rPr>
              <a:t>SCIENCE</a:t>
            </a:r>
            <a:endParaRPr lang="de-DE" sz="1200" dirty="0">
              <a:solidFill>
                <a:srgbClr val="606060"/>
              </a:solidFill>
            </a:endParaRPr>
          </a:p>
        </p:txBody>
      </p:sp>
      <p:sp>
        <p:nvSpPr>
          <p:cNvPr id="39" name="Inhaltsplatzhalter 12"/>
          <p:cNvSpPr txBox="1">
            <a:spLocks/>
          </p:cNvSpPr>
          <p:nvPr/>
        </p:nvSpPr>
        <p:spPr>
          <a:xfrm>
            <a:off x="3838386" y="2555794"/>
            <a:ext cx="438061" cy="184666"/>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smtClean="0">
                <a:solidFill>
                  <a:srgbClr val="606060"/>
                </a:solidFill>
              </a:rPr>
              <a:t>eLife</a:t>
            </a:r>
            <a:endParaRPr lang="de-DE" sz="1200" dirty="0">
              <a:solidFill>
                <a:srgbClr val="606060"/>
              </a:solidFill>
            </a:endParaRPr>
          </a:p>
        </p:txBody>
      </p:sp>
      <p:sp>
        <p:nvSpPr>
          <p:cNvPr id="40" name="Inhaltsplatzhalter 12"/>
          <p:cNvSpPr txBox="1">
            <a:spLocks/>
          </p:cNvSpPr>
          <p:nvPr/>
        </p:nvSpPr>
        <p:spPr>
          <a:xfrm>
            <a:off x="5077575" y="2378328"/>
            <a:ext cx="478649" cy="184666"/>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solidFill>
                  <a:srgbClr val="606060"/>
                </a:solidFill>
              </a:rPr>
              <a:t>PLOS</a:t>
            </a:r>
            <a:endParaRPr lang="de-DE" sz="1200" dirty="0">
              <a:solidFill>
                <a:srgbClr val="606060"/>
              </a:solidFill>
            </a:endParaRPr>
          </a:p>
        </p:txBody>
      </p:sp>
      <p:sp>
        <p:nvSpPr>
          <p:cNvPr id="41" name="Inhaltsplatzhalter 12"/>
          <p:cNvSpPr txBox="1">
            <a:spLocks/>
          </p:cNvSpPr>
          <p:nvPr/>
        </p:nvSpPr>
        <p:spPr>
          <a:xfrm>
            <a:off x="4793401" y="2967595"/>
            <a:ext cx="478649" cy="184666"/>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solidFill>
                  <a:srgbClr val="606060"/>
                </a:solidFill>
              </a:rPr>
              <a:t>CELL</a:t>
            </a:r>
            <a:endParaRPr lang="de-DE" sz="1200" dirty="0">
              <a:solidFill>
                <a:srgbClr val="606060"/>
              </a:solidFill>
            </a:endParaRPr>
          </a:p>
        </p:txBody>
      </p:sp>
      <p:sp>
        <p:nvSpPr>
          <p:cNvPr id="42" name="Foliennummernplatzhalter 4"/>
          <p:cNvSpPr>
            <a:spLocks noGrp="1"/>
          </p:cNvSpPr>
          <p:nvPr>
            <p:ph type="sldNum" sz="quarter" idx="12"/>
          </p:nvPr>
        </p:nvSpPr>
        <p:spPr>
          <a:xfrm>
            <a:off x="8931442" y="6659477"/>
            <a:ext cx="773912" cy="167164"/>
          </a:xfrm>
        </p:spPr>
        <p:txBody>
          <a:bodyPr/>
          <a:lstStyle/>
          <a:p>
            <a:fld id="{4AD1E780-DE1C-4ECA-B5E5-863D0BC53287}" type="slidenum">
              <a:rPr lang="de-DE" smtClean="0">
                <a:solidFill>
                  <a:prstClr val="black">
                    <a:tint val="75000"/>
                  </a:prstClr>
                </a:solidFill>
              </a:rPr>
              <a:pPr/>
              <a:t>8</a:t>
            </a:fld>
            <a:endParaRPr lang="de-DE" dirty="0">
              <a:solidFill>
                <a:prstClr val="black">
                  <a:tint val="75000"/>
                </a:prstClr>
              </a:solidFill>
            </a:endParaRPr>
          </a:p>
        </p:txBody>
      </p:sp>
    </p:spTree>
    <p:extLst>
      <p:ext uri="{BB962C8B-B14F-4D97-AF65-F5344CB8AC3E}">
        <p14:creationId xmlns:p14="http://schemas.microsoft.com/office/powerpoint/2010/main" val="42117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0"/>
                                        </p:tgtEl>
                                        <p:attrNameLst>
                                          <p:attrName>style.visibility</p:attrName>
                                        </p:attrNameLst>
                                      </p:cBhvr>
                                      <p:to>
                                        <p:strVal val="visible"/>
                                      </p:to>
                                    </p:set>
                                    <p:animEffect transition="in" filter="fade">
                                      <p:cBhvr>
                                        <p:cTn id="11" dur="500"/>
                                        <p:tgtEl>
                                          <p:spTgt spid="12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2"/>
                                        </p:tgtEl>
                                        <p:attrNameLst>
                                          <p:attrName>style.visibility</p:attrName>
                                        </p:attrNameLst>
                                      </p:cBhvr>
                                      <p:to>
                                        <p:strVal val="visible"/>
                                      </p:to>
                                    </p:set>
                                    <p:animEffect transition="in" filter="fade">
                                      <p:cBhvr>
                                        <p:cTn id="15" dur="500"/>
                                        <p:tgtEl>
                                          <p:spTgt spid="122"/>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fade">
                                      <p:cBhvr>
                                        <p:cTn id="19" dur="500"/>
                                        <p:tgtEl>
                                          <p:spTgt spid="12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19"/>
                                        </p:tgtEl>
                                        <p:attrNameLst>
                                          <p:attrName>style.visibility</p:attrName>
                                        </p:attrNameLst>
                                      </p:cBhvr>
                                      <p:to>
                                        <p:strVal val="visible"/>
                                      </p:to>
                                    </p:set>
                                    <p:animEffect transition="in" filter="fade">
                                      <p:cBhvr>
                                        <p:cTn id="23" dur="500"/>
                                        <p:tgtEl>
                                          <p:spTgt spid="119"/>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23"/>
                                        </p:tgtEl>
                                        <p:attrNameLst>
                                          <p:attrName>style.visibility</p:attrName>
                                        </p:attrNameLst>
                                      </p:cBhvr>
                                      <p:to>
                                        <p:strVal val="visible"/>
                                      </p:to>
                                    </p:set>
                                    <p:animEffect transition="in" filter="fade">
                                      <p:cBhvr>
                                        <p:cTn id="27" dur="500"/>
                                        <p:tgtEl>
                                          <p:spTgt spid="123"/>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18"/>
                                        </p:tgtEl>
                                        <p:attrNameLst>
                                          <p:attrName>style.visibility</p:attrName>
                                        </p:attrNameLst>
                                      </p:cBhvr>
                                      <p:to>
                                        <p:strVal val="visible"/>
                                      </p:to>
                                    </p:set>
                                    <p:animEffect transition="in" filter="fade">
                                      <p:cBhvr>
                                        <p:cTn id="31" dur="500"/>
                                        <p:tgtEl>
                                          <p:spTgt spid="118"/>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17"/>
                                        </p:tgtEl>
                                        <p:attrNameLst>
                                          <p:attrName>style.visibility</p:attrName>
                                        </p:attrNameLst>
                                      </p:cBhvr>
                                      <p:to>
                                        <p:strVal val="visible"/>
                                      </p:to>
                                    </p:set>
                                    <p:animEffect transition="in" filter="fade">
                                      <p:cBhvr>
                                        <p:cTn id="35" dur="500"/>
                                        <p:tgtEl>
                                          <p:spTgt spid="11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97"/>
                                        </p:tgtEl>
                                        <p:attrNameLst>
                                          <p:attrName>style.visibility</p:attrName>
                                        </p:attrNameLst>
                                      </p:cBhvr>
                                      <p:to>
                                        <p:strVal val="visible"/>
                                      </p:to>
                                    </p:set>
                                    <p:animEffect transition="in" filter="fade">
                                      <p:cBhvr>
                                        <p:cTn id="40" dur="500"/>
                                        <p:tgtEl>
                                          <p:spTgt spid="9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98"/>
                                        </p:tgtEl>
                                        <p:attrNameLst>
                                          <p:attrName>style.visibility</p:attrName>
                                        </p:attrNameLst>
                                      </p:cBhvr>
                                      <p:to>
                                        <p:strVal val="visible"/>
                                      </p:to>
                                    </p:set>
                                    <p:animEffect transition="in" filter="fade">
                                      <p:cBhvr>
                                        <p:cTn id="43"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animBg="1"/>
      <p:bldP spid="117" grpId="0" animBg="1"/>
      <p:bldP spid="118" grpId="0" animBg="1"/>
      <p:bldP spid="115" grpId="0" animBg="1"/>
      <p:bldP spid="97" grpId="0" animBg="1"/>
      <p:bldP spid="9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5&quot;&gt;&lt;elem m_fUsage=&quot;3.90530403910000070000E+000&quot;&gt;&lt;m_msothmcolidx val=&quot;0&quot;/&gt;&lt;m_rgb r=&quot;7d&quot; g=&quot;aa&quot; b=&quot;ed&quot;/&gt;&lt;m_ppcolschidx tagver0=&quot;23004&quot; tagname0=&quot;m_ppcolschidxUNRECOGNIZED&quot; val=&quot;0&quot;/&gt;&lt;m_nBrightness val=&quot;0&quot;/&gt;&lt;/elem&gt;&lt;elem m_fUsage=&quot;9.69910596090000190000E-001&quot;&gt;&lt;m_msothmcolidx val=&quot;0&quot;/&gt;&lt;m_rgb r=&quot;84&quot; g=&quot;9f&quot; b=&quot;c2&quot;/&gt;&lt;m_ppcolschidx tagver0=&quot;23004&quot; tagname0=&quot;m_ppcolschidxUNRECOGNIZED&quot; val=&quot;0&quot;/&gt;&lt;m_nBrightness val=&quot;0&quot;/&gt;&lt;/elem&gt;&lt;elem m_fUsage=&quot;9.00000000000000020000E-001&quot;&gt;&lt;m_msothmcolidx val=&quot;0&quot;/&gt;&lt;m_rgb r=&quot;de&quot; g=&quot;e5&quot; b=&quot;ee&quot;/&gt;&lt;m_ppcolschidx tagver0=&quot;23004&quot; tagname0=&quot;m_ppcolschidxUNRECOGNIZED&quot; val=&quot;0&quot;/&gt;&lt;m_nBrightness val=&quot;0&quot;/&gt;&lt;/elem&gt;&lt;elem m_fUsage=&quot;8.10000000000000050000E-001&quot;&gt;&lt;m_msothmcolidx val=&quot;0&quot;/&gt;&lt;m_rgb r=&quot;be&quot; g=&quot;d4&quot; b=&quot;f6&quot;/&gt;&lt;m_ppcolschidx tagver0=&quot;23004&quot; tagname0=&quot;m_ppcolschidxUNRECOGNIZED&quot; val=&quot;0&quot;/&gt;&lt;m_nBrightness val=&quot;0&quot;/&gt;&lt;/elem&gt;&lt;elem m_fUsage=&quot;5.90490000000000180000E-001&quot;&gt;&lt;m_msothmcolidx val=&quot;0&quot;/&gt;&lt;m_rgb r=&quot;0&quot; g=&quot;66&quot; b=&quot;0&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HVstNLjY0CAGwpdO4KM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zm_zCOo7kyON9WbNsTPB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HVstNLjY0CAGwpdO4KM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MUeKZMcOUC1SoZ_Ydls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VbrMPTm2UyP4r0Zmjmz7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MUeKZMcOUC1SoZ_Ydls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VbrMPTm2UyP4r0Zmjmz7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HVstNLjY0CAGwpdO4KMP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9MUeKZMcOUC1SoZ_Ydls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zm_zCOo7kyON9WbNsTPB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7VbrMPTm2UyP4r0Zmjmz7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HVstNLjY0CAGwpdO4KMPg"/>
</p:tagLst>
</file>

<file path=ppt/theme/theme1.xml><?xml version="1.0" encoding="utf-8"?>
<a:theme xmlns:a="http://schemas.openxmlformats.org/drawingml/2006/main" name="MPDL PPT Template (Leerpräsentation) 20120307">
  <a:themeElements>
    <a:clrScheme name="Benutzerdefiniert 4">
      <a:dk1>
        <a:sysClr val="windowText" lastClr="000000"/>
      </a:dk1>
      <a:lt1>
        <a:srgbClr val="FFFFFF"/>
      </a:lt1>
      <a:dk2>
        <a:srgbClr val="606060"/>
      </a:dk2>
      <a:lt2>
        <a:srgbClr val="F2F2F2"/>
      </a:lt2>
      <a:accent1>
        <a:srgbClr val="C0C0C0"/>
      </a:accent1>
      <a:accent2>
        <a:srgbClr val="7F7F7F"/>
      </a:accent2>
      <a:accent3>
        <a:srgbClr val="FFC865"/>
      </a:accent3>
      <a:accent4>
        <a:srgbClr val="F29A00"/>
      </a:accent4>
      <a:accent5>
        <a:srgbClr val="EF7E5F"/>
      </a:accent5>
      <a:accent6>
        <a:srgbClr val="DB3F16"/>
      </a:accent6>
      <a:hlink>
        <a:srgbClr val="DB3F16"/>
      </a:hlink>
      <a:folHlink>
        <a:srgbClr val="7C7C7C"/>
      </a:folHlink>
    </a:clrScheme>
    <a:fontScheme name="Benutzerdefiniert 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72000" tIns="72000" rIns="72000" bIns="72000" rtlCol="0" anchor="ctr">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MPDL PPT Template (Leerpräsentation) 20120307">
  <a:themeElements>
    <a:clrScheme name="Benutzerdefiniert 4">
      <a:dk1>
        <a:sysClr val="windowText" lastClr="000000"/>
      </a:dk1>
      <a:lt1>
        <a:srgbClr val="FFFFFF"/>
      </a:lt1>
      <a:dk2>
        <a:srgbClr val="606060"/>
      </a:dk2>
      <a:lt2>
        <a:srgbClr val="F2F2F2"/>
      </a:lt2>
      <a:accent1>
        <a:srgbClr val="C0C0C0"/>
      </a:accent1>
      <a:accent2>
        <a:srgbClr val="7F7F7F"/>
      </a:accent2>
      <a:accent3>
        <a:srgbClr val="FFC865"/>
      </a:accent3>
      <a:accent4>
        <a:srgbClr val="F29A00"/>
      </a:accent4>
      <a:accent5>
        <a:srgbClr val="EF7E5F"/>
      </a:accent5>
      <a:accent6>
        <a:srgbClr val="DB3F16"/>
      </a:accent6>
      <a:hlink>
        <a:srgbClr val="DB3F16"/>
      </a:hlink>
      <a:folHlink>
        <a:srgbClr val="7C7C7C"/>
      </a:folHlink>
    </a:clrScheme>
    <a:fontScheme name="Benutzerdefiniert 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72000" tIns="72000" rIns="72000" bIns="72000" rtlCol="0" anchor="ctr">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PDL PPT Template (Leerpräsentation) 20120307</Template>
  <TotalTime>0</TotalTime>
  <Words>1708</Words>
  <Application>Microsoft Office PowerPoint</Application>
  <PresentationFormat>A4-Papier (210x297 mm)</PresentationFormat>
  <Paragraphs>543</Paragraphs>
  <Slides>57</Slides>
  <Notes>30</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2</vt:i4>
      </vt:variant>
      <vt:variant>
        <vt:lpstr>Folientitel</vt:lpstr>
      </vt:variant>
      <vt:variant>
        <vt:i4>57</vt:i4>
      </vt:variant>
    </vt:vector>
  </HeadingPairs>
  <TitlesOfParts>
    <vt:vector size="68" baseType="lpstr">
      <vt:lpstr>Arial</vt:lpstr>
      <vt:lpstr>Calibri</vt:lpstr>
      <vt:lpstr>Geneva</vt:lpstr>
      <vt:lpstr>MV Boli</vt:lpstr>
      <vt:lpstr>Symbol</vt:lpstr>
      <vt:lpstr>Times New Roman</vt:lpstr>
      <vt:lpstr>Wingdings</vt:lpstr>
      <vt:lpstr>MPDL PPT Template (Leerpräsentation) 20120307</vt:lpstr>
      <vt:lpstr>1_MPDL PPT Template (Leerpräsentation) 20120307</vt:lpstr>
      <vt:lpstr>think-cell Folie</vt:lpstr>
      <vt:lpstr>think-cell Slide</vt:lpstr>
      <vt:lpstr>OA2020 roadmap for large-scale transformation – international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veraging Bibliodiversity</dc:title>
  <dc:subject>Mandate for our money</dc:subject>
  <dc:creator/>
  <cp:keywords>OA2020: Initiative for the large-scale transformation to open access</cp:keywords>
  <cp:lastModifiedBy/>
  <cp:revision>1</cp:revision>
  <cp:lastPrinted>2013-01-22T15:34:55Z</cp:lastPrinted>
  <dcterms:created xsi:type="dcterms:W3CDTF">2013-01-22T07:58:38Z</dcterms:created>
  <dcterms:modified xsi:type="dcterms:W3CDTF">2018-11-20T13:11:31Z</dcterms:modified>
</cp:coreProperties>
</file>